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notesSlides/notesSlide2.xml" ContentType="application/vnd.openxmlformats-officedocument.presentationml.notesSlide+xml"/>
  <Override PartName="/ppt/charts/chart5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6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3.xml" ContentType="application/vnd.openxmlformats-officedocument.presentationml.notesSlide+xml"/>
  <Override PartName="/ppt/charts/chart7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4.xml" ContentType="application/vnd.openxmlformats-officedocument.presentationml.notesSlide+xml"/>
  <Override PartName="/ppt/charts/chart8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5.xml" ContentType="application/vnd.openxmlformats-officedocument.presentationml.notesSlide+xml"/>
  <Override PartName="/ppt/charts/chart9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drawings/drawing1.xml" ContentType="application/vnd.openxmlformats-officedocument.drawingml.chartshapes+xml"/>
  <Override PartName="/ppt/notesSlides/notesSlide6.xml" ContentType="application/vnd.openxmlformats-officedocument.presentationml.notesSlide+xml"/>
  <Override PartName="/ppt/charts/chart10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notesSlides/notesSlide7.xml" ContentType="application/vnd.openxmlformats-officedocument.presentationml.notesSlide+xml"/>
  <Override PartName="/ppt/charts/chart11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notesSlides/notesSlide8.xml" ContentType="application/vnd.openxmlformats-officedocument.presentationml.notesSlide+xml"/>
  <Override PartName="/ppt/charts/chart12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13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4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notesSlides/notesSlide9.xml" ContentType="application/vnd.openxmlformats-officedocument.presentationml.notesSlide+xml"/>
  <Override PartName="/ppt/charts/chart15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notesSlides/notesSlide10.xml" ContentType="application/vnd.openxmlformats-officedocument.presentationml.notesSlide+xml"/>
  <Override PartName="/ppt/charts/chart16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notesSlides/notesSlide11.xml" ContentType="application/vnd.openxmlformats-officedocument.presentationml.notesSlide+xml"/>
  <Override PartName="/ppt/charts/chart17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harts/chart18.xml" ContentType="application/vnd.openxmlformats-officedocument.drawingml.chart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rts/chart19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charts/chart20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charts/chart21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charts/chart22.xml" ContentType="application/vnd.openxmlformats-officedocument.drawingml.chart+xml"/>
  <Override PartName="/ppt/notesSlides/notesSlide12.xml" ContentType="application/vnd.openxmlformats-officedocument.presentationml.notesSlide+xml"/>
  <Override PartName="/ppt/charts/chart23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charts/chart24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charts/chart25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notesSlides/notesSlide13.xml" ContentType="application/vnd.openxmlformats-officedocument.presentationml.notesSlide+xml"/>
  <Override PartName="/ppt/charts/chart26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charts/chart27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840" r:id="rId1"/>
  </p:sldMasterIdLst>
  <p:notesMasterIdLst>
    <p:notesMasterId r:id="rId30"/>
  </p:notesMasterIdLst>
  <p:sldIdLst>
    <p:sldId id="336" r:id="rId2"/>
    <p:sldId id="402" r:id="rId3"/>
    <p:sldId id="395" r:id="rId4"/>
    <p:sldId id="375" r:id="rId5"/>
    <p:sldId id="390" r:id="rId6"/>
    <p:sldId id="391" r:id="rId7"/>
    <p:sldId id="401" r:id="rId8"/>
    <p:sldId id="265" r:id="rId9"/>
    <p:sldId id="268" r:id="rId10"/>
    <p:sldId id="257" r:id="rId11"/>
    <p:sldId id="275" r:id="rId12"/>
    <p:sldId id="397" r:id="rId13"/>
    <p:sldId id="259" r:id="rId14"/>
    <p:sldId id="262" r:id="rId15"/>
    <p:sldId id="398" r:id="rId16"/>
    <p:sldId id="261" r:id="rId17"/>
    <p:sldId id="258" r:id="rId18"/>
    <p:sldId id="271" r:id="rId19"/>
    <p:sldId id="396" r:id="rId20"/>
    <p:sldId id="379" r:id="rId21"/>
    <p:sldId id="280" r:id="rId22"/>
    <p:sldId id="380" r:id="rId23"/>
    <p:sldId id="381" r:id="rId24"/>
    <p:sldId id="400" r:id="rId25"/>
    <p:sldId id="399" r:id="rId26"/>
    <p:sldId id="392" r:id="rId27"/>
    <p:sldId id="393" r:id="rId28"/>
    <p:sldId id="328" r:id="rId29"/>
  </p:sldIdLst>
  <p:sldSz cx="12192000" cy="6858000"/>
  <p:notesSz cx="6797675" cy="992663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iktorie Kovacova" initials="VK" lastIdx="1" clrIdx="0">
    <p:extLst>
      <p:ext uri="{19B8F6BF-5375-455C-9EA6-DF929625EA0E}">
        <p15:presenceInfo xmlns:p15="http://schemas.microsoft.com/office/powerpoint/2012/main" userId="Viktorie Kovacova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E79"/>
    <a:srgbClr val="AFD7CF"/>
    <a:srgbClr val="18A794"/>
    <a:srgbClr val="40404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Střední styl 1 – zvýraznění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BC89EF96-8CEA-46FF-86C4-4CE0E7609802}" styleName="Světlý styl 3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1FECB4D8-DB02-4DC6-A0A2-4F2EBAE1DC90}" styleName="Střední styl 1 – zvýraznění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397" autoAdjust="0"/>
    <p:restoredTop sz="86550" autoAdjust="0"/>
  </p:normalViewPr>
  <p:slideViewPr>
    <p:cSldViewPr snapToGrid="0">
      <p:cViewPr varScale="1">
        <p:scale>
          <a:sx n="99" d="100"/>
          <a:sy n="99" d="100"/>
        </p:scale>
        <p:origin x="948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3114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Relationship Id="rId35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D:\Dokumenty\2019\V1819_&#269;ba\vystupy\tabulky_grafy2018.xlsx" TargetMode="Externa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oleObject" Target="../embeddings/oleObject5.bin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../embeddings/oleObject1.bin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oleObject" Target="../embeddings/oleObject12.bin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Jana\Documents\jh\V18_&#268;BA%20Dan&#283;,kyberbezpe&#269;nost\DigitalizaceII.xlsx" TargetMode="External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Jana\Documents\jh\V18_&#268;BA%20Dan&#283;,kyberbezpe&#269;nost\DigitalizaceII.xlsx" TargetMode="External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Jana\Documents\jh\V18_&#268;BA%20Dan&#283;,kyberbezpe&#269;nost\DigitalizaceII.xlsx" TargetMode="External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Jana\Documents\jh\V18_&#268;BA%20Dan&#283;,kyberbezpe&#269;nost\DigitalizaceII.xlsx" TargetMode="External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../embeddings/oleObject2.bin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../embeddings/oleObject3.bin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Jana\Documents\jh\V18_&#268;BA%20Dan&#283;,kyberbezpe&#269;nost\DigitalizaceII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Jana\Documents\jh\V18_&#268;BA%20Dan&#283;,kyberbezpe&#269;nost\DigitalizaceII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chartUserShapes" Target="../drawings/drawing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445463221953746"/>
          <c:y val="6.2499653207842877E-2"/>
          <c:w val="0.47404522597117649"/>
          <c:h val="0.87486197672146082"/>
        </c:manualLayout>
      </c:layout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5">
                  <a:tint val="65000"/>
                </a:schemeClr>
              </a:solidFill>
              <a:ln>
                <a:noFill/>
              </a:ln>
              <a:effectLst>
                <a:outerShdw blurRad="317500" algn="ctr" rotWithShape="0">
                  <a:prstClr val="black">
                    <a:alpha val="25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AB15-4BC5-B43A-FD7BED42A95F}"/>
              </c:ext>
            </c:extLst>
          </c:dPt>
          <c:dPt>
            <c:idx val="1"/>
            <c:bubble3D val="0"/>
            <c:spPr>
              <a:solidFill>
                <a:schemeClr val="accent5"/>
              </a:solidFill>
              <a:ln>
                <a:noFill/>
              </a:ln>
              <a:effectLst>
                <a:outerShdw blurRad="317500" algn="ctr" rotWithShape="0">
                  <a:prstClr val="black">
                    <a:alpha val="25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AB15-4BC5-B43A-FD7BED42A95F}"/>
              </c:ext>
            </c:extLst>
          </c:dPt>
          <c:dPt>
            <c:idx val="2"/>
            <c:bubble3D val="0"/>
            <c:spPr>
              <a:solidFill>
                <a:schemeClr val="accent5">
                  <a:shade val="65000"/>
                </a:schemeClr>
              </a:solidFill>
              <a:ln>
                <a:noFill/>
              </a:ln>
              <a:effectLst>
                <a:outerShdw blurRad="317500" algn="ctr" rotWithShape="0">
                  <a:prstClr val="black">
                    <a:alpha val="25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AB15-4BC5-B43A-FD7BED42A95F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AB15-4BC5-B43A-FD7BED42A95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dk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[tabulky_grafy2018.xlsx]List10!$B$4:$B$6</c:f>
              <c:strCache>
                <c:ptCount val="3"/>
                <c:pt idx="0">
                  <c:v>bez maturity</c:v>
                </c:pt>
                <c:pt idx="1">
                  <c:v>s maturitou</c:v>
                </c:pt>
                <c:pt idx="2">
                  <c:v>VŠ</c:v>
                </c:pt>
              </c:strCache>
            </c:strRef>
          </c:cat>
          <c:val>
            <c:numRef>
              <c:f>[tabulky_grafy2018.xlsx]List10!$C$4:$C$6</c:f>
              <c:numCache>
                <c:formatCode>0%</c:formatCode>
                <c:ptCount val="3"/>
                <c:pt idx="0">
                  <c:v>0.3</c:v>
                </c:pt>
                <c:pt idx="1">
                  <c:v>0.42</c:v>
                </c:pt>
                <c:pt idx="2">
                  <c:v>0.289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AB15-4BC5-B43A-FD7BED42A95F}"/>
            </c:ext>
          </c:extLst>
        </c:ser>
        <c:dLbls>
          <c:showLegendKey val="0"/>
          <c:showVal val="1"/>
          <c:showCatName val="1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pattFill prst="dkDnDiag">
      <a:fgClr>
        <a:schemeClr val="lt1">
          <a:lumMod val="95000"/>
        </a:schemeClr>
      </a:fgClr>
      <a:bgClr>
        <a:schemeClr val="lt1"/>
      </a:bgClr>
    </a:pattFill>
    <a:ln w="9525" cap="flat" cmpd="sng" algn="ctr">
      <a:solidFill>
        <a:schemeClr val="dk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993191819747161"/>
          <c:y val="8.2804791724215274E-2"/>
          <c:w val="0.50615763119607071"/>
          <c:h val="0.72940046070760511"/>
        </c:manualLayout>
      </c:layout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5">
                  <a:shade val="6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ED4-49D2-9A90-94FF79DF271F}"/>
              </c:ext>
            </c:extLst>
          </c:dPt>
          <c:dPt>
            <c:idx val="1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6ED4-49D2-9A90-94FF79DF271F}"/>
              </c:ext>
            </c:extLst>
          </c:dPt>
          <c:dPt>
            <c:idx val="2"/>
            <c:bubble3D val="0"/>
            <c:spPr>
              <a:solidFill>
                <a:schemeClr val="accent5">
                  <a:tint val="6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6ED4-49D2-9A90-94FF79DF271F}"/>
              </c:ext>
            </c:extLst>
          </c:dPt>
          <c:dLbls>
            <c:dLbl>
              <c:idx val="0"/>
              <c:layout>
                <c:manualLayout>
                  <c:x val="7.7545266586361516E-2"/>
                  <c:y val="-0.16048633579668534"/>
                </c:manualLayout>
              </c:layout>
              <c:tx>
                <c:rich>
                  <a:bodyPr/>
                  <a:lstStyle/>
                  <a:p>
                    <a:fld id="{0869824D-D500-45D5-9D2C-C13446DF71AA}" type="CATEGORYNAME">
                      <a:rPr lang="en-US" smtClean="0"/>
                      <a:pPr/>
                      <a:t>[NÁZEV KATEGORIE]</a:t>
                    </a:fld>
                    <a:r>
                      <a:rPr lang="en-US" dirty="0"/>
                      <a:t>;</a:t>
                    </a:r>
                    <a:r>
                      <a:rPr lang="en-US" baseline="0" dirty="0"/>
                      <a:t> </a:t>
                    </a:r>
                    <a:r>
                      <a:rPr lang="en-US" b="1" baseline="0" dirty="0"/>
                      <a:t>37 %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6ED4-49D2-9A90-94FF79DF271F}"/>
                </c:ext>
              </c:extLst>
            </c:dLbl>
            <c:dLbl>
              <c:idx val="1"/>
              <c:layout>
                <c:manualLayout>
                  <c:x val="-0.1800340031970184"/>
                  <c:y val="9.3265145072473757E-2"/>
                </c:manualLayout>
              </c:layout>
              <c:tx>
                <c:rich>
                  <a:bodyPr/>
                  <a:lstStyle/>
                  <a:p>
                    <a:fld id="{67E24CB0-23D8-4721-95D6-4E13B3D5E764}" type="CATEGORYNAME">
                      <a:rPr lang="en-US" smtClean="0"/>
                      <a:pPr/>
                      <a:t>[NÁZEV KATEGORIE]</a:t>
                    </a:fld>
                    <a:r>
                      <a:rPr lang="en-US" dirty="0"/>
                      <a:t>;</a:t>
                    </a:r>
                  </a:p>
                  <a:p>
                    <a:r>
                      <a:rPr lang="en-US" baseline="0" dirty="0"/>
                      <a:t> </a:t>
                    </a:r>
                    <a:r>
                      <a:rPr lang="en-US" b="1" baseline="0" dirty="0"/>
                      <a:t>36 %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>
                  <c15:layout>
                    <c:manualLayout>
                      <c:w val="0.27005809168780198"/>
                      <c:h val="0.31507884743159137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6ED4-49D2-9A90-94FF79DF271F}"/>
                </c:ext>
              </c:extLst>
            </c:dLbl>
            <c:dLbl>
              <c:idx val="2"/>
              <c:layout>
                <c:manualLayout>
                  <c:x val="-6.6397629277678644E-2"/>
                  <c:y val="-0.11107360867846378"/>
                </c:manualLayout>
              </c:layout>
              <c:tx>
                <c:rich>
                  <a:bodyPr/>
                  <a:lstStyle/>
                  <a:p>
                    <a:fld id="{F860A967-A536-4CF9-A9D7-8E534397A0C5}" type="CATEGORYNAME">
                      <a:rPr lang="en-US" smtClean="0"/>
                      <a:pPr/>
                      <a:t>[NÁZEV KATEGORIE]</a:t>
                    </a:fld>
                    <a:r>
                      <a:rPr lang="en-US" dirty="0"/>
                      <a:t>;</a:t>
                    </a:r>
                  </a:p>
                  <a:p>
                    <a:r>
                      <a:rPr lang="en-US" b="1" dirty="0"/>
                      <a:t>28 %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6ED4-49D2-9A90-94FF79DF271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C$463:$E$463</c:f>
              <c:strCache>
                <c:ptCount val="3"/>
                <c:pt idx="0">
                  <c:v>Uživatelské jméno a heslo</c:v>
                </c:pt>
                <c:pt idx="1">
                  <c:v>Biometrie (otisk prstu, ověření hlasu, snímání tváře, oka)</c:v>
                </c:pt>
                <c:pt idx="2">
                  <c:v>PIN kód</c:v>
                </c:pt>
              </c:strCache>
            </c:strRef>
          </c:cat>
          <c:val>
            <c:numRef>
              <c:f>Sheet1!$C$464:$E$464</c:f>
              <c:numCache>
                <c:formatCode>###0%</c:formatCode>
                <c:ptCount val="3"/>
                <c:pt idx="0">
                  <c:v>0.36582350386832774</c:v>
                </c:pt>
                <c:pt idx="1">
                  <c:v>0.35647192686023532</c:v>
                </c:pt>
                <c:pt idx="2">
                  <c:v>0.277704569271433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6ED4-49D2-9A90-94FF79DF271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300"/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2891566546514698"/>
          <c:y val="2.537360509806326E-4"/>
          <c:w val="0.57108433453485308"/>
          <c:h val="0.9321762058371849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'tabulky grafy'!$R$17</c:f>
              <c:strCache>
                <c:ptCount val="1"/>
                <c:pt idx="0">
                  <c:v>mobilní aplikace</c:v>
                </c:pt>
              </c:strCache>
            </c:strRef>
          </c:tx>
          <c:spPr>
            <a:solidFill>
              <a:srgbClr val="007E79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3 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7-C2D1-4FB6-895B-D7397FDFA8CD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4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C2D1-4FB6-895B-D7397FDFA8CD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/>
                      <a:t>6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C2D1-4FB6-895B-D7397FDFA8CD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/>
                      <a:t>17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C2D1-4FB6-895B-D7397FDFA8CD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 dirty="0"/>
                      <a:t>55 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C2D1-4FB6-895B-D7397FDFA8CD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r>
                      <a:rPr lang="en-US"/>
                      <a:t>45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C2D1-4FB6-895B-D7397FDFA8CD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r>
                      <a:rPr lang="en-US"/>
                      <a:t>37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C2D1-4FB6-895B-D7397FDFA8CD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r>
                      <a:rPr lang="en-US"/>
                      <a:t>36 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C2D1-4FB6-895B-D7397FDFA8CD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r>
                      <a:rPr lang="en-US"/>
                      <a:t>47</a:t>
                    </a:r>
                    <a:r>
                      <a:rPr lang="en-US" baseline="0"/>
                      <a:t>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C2D1-4FB6-895B-D7397FDFA8CD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r>
                      <a:rPr lang="en-US"/>
                      <a:t>75 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C2D1-4FB6-895B-D7397FDFA8CD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r>
                      <a:rPr lang="en-US"/>
                      <a:t>81 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C2D1-4FB6-895B-D7397FDFA8CD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r>
                      <a:rPr lang="en-US"/>
                      <a:t>81 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2D1-4FB6-895B-D7397FDFA8C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rgbClr val="007E79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tabulky grafy'!$Q$18:$Q$29</c:f>
              <c:strCache>
                <c:ptCount val="12"/>
                <c:pt idx="0">
                  <c:v>Jiné</c:v>
                </c:pt>
                <c:pt idx="1">
                  <c:v>Žádost o úvěr</c:v>
                </c:pt>
                <c:pt idx="2">
                  <c:v>Zřízení a správa kontokorentu</c:v>
                </c:pt>
                <c:pt idx="3">
                  <c:v>Nakupuji zboží se slevou (sleva díky využití elektronického bankovnictví)</c:v>
                </c:pt>
                <c:pt idx="4">
                  <c:v>Kontrola úspor</c:v>
                </c:pt>
                <c:pt idx="5">
                  <c:v>Převedení peněz z běžného účtu na spořicí a naopak</c:v>
                </c:pt>
                <c:pt idx="6">
                  <c:v>Nakupuji zboží v e-shopech (jednoduchá platba bez nutnosti použít kartu)</c:v>
                </c:pt>
                <c:pt idx="7">
                  <c:v>Nastavení účtu a karet – limity, avíza, apod</c:v>
                </c:pt>
                <c:pt idx="8">
                  <c:v>Trvalé příkazy a inkasa – zadávání, správa</c:v>
                </c:pt>
                <c:pt idx="9">
                  <c:v>Kontrola příjmů a výdajů</c:v>
                </c:pt>
                <c:pt idx="10">
                  <c:v>Ověření zůstatku na účtu</c:v>
                </c:pt>
                <c:pt idx="11">
                  <c:v>Provedení platby</c:v>
                </c:pt>
              </c:strCache>
            </c:strRef>
          </c:cat>
          <c:val>
            <c:numRef>
              <c:f>'tabulky grafy'!$R$18:$R$29</c:f>
              <c:numCache>
                <c:formatCode>###0%</c:formatCode>
                <c:ptCount val="12"/>
                <c:pt idx="0">
                  <c:v>3.3041800780620849E-2</c:v>
                </c:pt>
                <c:pt idx="1">
                  <c:v>4.3901635524089967E-2</c:v>
                </c:pt>
                <c:pt idx="2">
                  <c:v>6.2836907532677816E-2</c:v>
                </c:pt>
                <c:pt idx="3">
                  <c:v>0.16949848000865553</c:v>
                </c:pt>
                <c:pt idx="4">
                  <c:v>0.55367151142606152</c:v>
                </c:pt>
                <c:pt idx="5">
                  <c:v>0.44721025934415271</c:v>
                </c:pt>
                <c:pt idx="6">
                  <c:v>0.36785551500279079</c:v>
                </c:pt>
                <c:pt idx="7">
                  <c:v>0.36428608077236069</c:v>
                </c:pt>
                <c:pt idx="8">
                  <c:v>0.47487088498019148</c:v>
                </c:pt>
                <c:pt idx="9">
                  <c:v>0.74785037400025711</c:v>
                </c:pt>
                <c:pt idx="10">
                  <c:v>0.81200550815337447</c:v>
                </c:pt>
                <c:pt idx="11">
                  <c:v>0.806343288256415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2A-4309-9F32-2CC36FD2EEA1}"/>
            </c:ext>
          </c:extLst>
        </c:ser>
        <c:ser>
          <c:idx val="1"/>
          <c:order val="1"/>
          <c:tx>
            <c:strRef>
              <c:f>'tabulky grafy'!$S$17</c:f>
              <c:strCache>
                <c:ptCount val="1"/>
                <c:pt idx="0">
                  <c:v>webový prohlížeč</c:v>
                </c:pt>
              </c:strCache>
            </c:strRef>
          </c:tx>
          <c:spPr>
            <a:solidFill>
              <a:schemeClr val="accent5">
                <a:tint val="77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2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C2D1-4FB6-895B-D7397FDFA8CD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9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C2D1-4FB6-895B-D7397FDFA8CD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/>
                      <a:t>14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C2D1-4FB6-895B-D7397FDFA8CD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/>
                      <a:t>19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C2D1-4FB6-895B-D7397FDFA8CD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/>
                      <a:t>56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C2D1-4FB6-895B-D7397FDFA8CD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r>
                      <a:rPr lang="en-US"/>
                      <a:t>57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C2D1-4FB6-895B-D7397FDFA8CD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r>
                      <a:rPr lang="en-US"/>
                      <a:t>61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C2D1-4FB6-895B-D7397FDFA8CD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r>
                      <a:rPr lang="en-US"/>
                      <a:t>65 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C2D1-4FB6-895B-D7397FDFA8CD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r>
                      <a:rPr lang="en-US"/>
                      <a:t>79 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C2D1-4FB6-895B-D7397FDFA8CD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r>
                      <a:rPr lang="en-US"/>
                      <a:t>81 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C2D1-4FB6-895B-D7397FDFA8CD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r>
                      <a:rPr lang="en-US"/>
                      <a:t>83 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C2D1-4FB6-895B-D7397FDFA8CD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r>
                      <a:rPr lang="en-US"/>
                      <a:t>86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C2D1-4FB6-895B-D7397FDFA8CD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tabulky grafy'!$Q$18:$Q$29</c:f>
              <c:strCache>
                <c:ptCount val="12"/>
                <c:pt idx="0">
                  <c:v>Jiné</c:v>
                </c:pt>
                <c:pt idx="1">
                  <c:v>Žádost o úvěr</c:v>
                </c:pt>
                <c:pt idx="2">
                  <c:v>Zřízení a správa kontokorentu</c:v>
                </c:pt>
                <c:pt idx="3">
                  <c:v>Nakupuji zboží se slevou (sleva díky využití elektronického bankovnictví)</c:v>
                </c:pt>
                <c:pt idx="4">
                  <c:v>Kontrola úspor</c:v>
                </c:pt>
                <c:pt idx="5">
                  <c:v>Převedení peněz z běžného účtu na spořicí a naopak</c:v>
                </c:pt>
                <c:pt idx="6">
                  <c:v>Nakupuji zboží v e-shopech (jednoduchá platba bez nutnosti použít kartu)</c:v>
                </c:pt>
                <c:pt idx="7">
                  <c:v>Nastavení účtu a karet – limity, avíza, apod</c:v>
                </c:pt>
                <c:pt idx="8">
                  <c:v>Trvalé příkazy a inkasa – zadávání, správa</c:v>
                </c:pt>
                <c:pt idx="9">
                  <c:v>Kontrola příjmů a výdajů</c:v>
                </c:pt>
                <c:pt idx="10">
                  <c:v>Ověření zůstatku na účtu</c:v>
                </c:pt>
                <c:pt idx="11">
                  <c:v>Provedení platby</c:v>
                </c:pt>
              </c:strCache>
            </c:strRef>
          </c:cat>
          <c:val>
            <c:numRef>
              <c:f>'tabulky grafy'!$S$18:$S$29</c:f>
              <c:numCache>
                <c:formatCode>General</c:formatCode>
                <c:ptCount val="12"/>
                <c:pt idx="0">
                  <c:v>1.5644591091266539E-2</c:v>
                </c:pt>
                <c:pt idx="1">
                  <c:v>9.3754264798019363E-2</c:v>
                </c:pt>
                <c:pt idx="2">
                  <c:v>0.13735468040644658</c:v>
                </c:pt>
                <c:pt idx="3">
                  <c:v>0.19479860137305011</c:v>
                </c:pt>
                <c:pt idx="4">
                  <c:v>0.56495586907161432</c:v>
                </c:pt>
                <c:pt idx="5">
                  <c:v>0.56506700365918228</c:v>
                </c:pt>
                <c:pt idx="6">
                  <c:v>0.60672130668962598</c:v>
                </c:pt>
                <c:pt idx="7">
                  <c:v>0.65121528013657193</c:v>
                </c:pt>
                <c:pt idx="8">
                  <c:v>0.79253950914402305</c:v>
                </c:pt>
                <c:pt idx="9">
                  <c:v>0.80804173903521359</c:v>
                </c:pt>
                <c:pt idx="10">
                  <c:v>0.83238345198184338</c:v>
                </c:pt>
                <c:pt idx="11">
                  <c:v>0.855970325960649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D2A-4309-9F32-2CC36FD2EE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2"/>
        <c:axId val="466731024"/>
        <c:axId val="542945024"/>
      </c:barChart>
      <c:catAx>
        <c:axId val="46673102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42945024"/>
        <c:crosses val="autoZero"/>
        <c:auto val="1"/>
        <c:lblAlgn val="ctr"/>
        <c:lblOffset val="100"/>
        <c:noMultiLvlLbl val="0"/>
      </c:catAx>
      <c:valAx>
        <c:axId val="542945024"/>
        <c:scaling>
          <c:orientation val="minMax"/>
        </c:scaling>
        <c:delete val="1"/>
        <c:axPos val="b"/>
        <c:numFmt formatCode="###0%" sourceLinked="1"/>
        <c:majorTickMark val="none"/>
        <c:minorTickMark val="none"/>
        <c:tickLblPos val="nextTo"/>
        <c:crossAx val="4667310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777063718439992"/>
          <c:y val="0.8834119779666989"/>
          <c:w val="0.19836262118697892"/>
          <c:h val="8.609906860032989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6224127030450562"/>
          <c:y val="3.0855610951218478E-2"/>
          <c:w val="0.50771579307251968"/>
          <c:h val="0.85716974018392733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'tabulky grafy'!$R$63</c:f>
              <c:strCache>
                <c:ptCount val="1"/>
                <c:pt idx="0">
                  <c:v>mobilní aplikace</c:v>
                </c:pt>
              </c:strCache>
            </c:strRef>
          </c:tx>
          <c:spPr>
            <a:solidFill>
              <a:srgbClr val="007E79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rgbClr val="007E79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tabulky grafy'!$Q$64:$Q$69</c:f>
              <c:strCache>
                <c:ptCount val="6"/>
                <c:pt idx="0">
                  <c:v>Je bezpečné </c:v>
                </c:pt>
                <c:pt idx="1">
                  <c:v>Mám při jeho používání soukromí </c:v>
                </c:pt>
                <c:pt idx="2">
                  <c:v>Je rychlé </c:v>
                </c:pt>
                <c:pt idx="3">
                  <c:v>Mohu ho využít kdykoli a kdekoli (nemusím na pobočku) </c:v>
                </c:pt>
                <c:pt idx="4">
                  <c:v>Je pohodlné </c:v>
                </c:pt>
                <c:pt idx="5">
                  <c:v>Mám okamžitý přehled, co se na mém účtu děje </c:v>
                </c:pt>
              </c:strCache>
            </c:strRef>
          </c:cat>
          <c:val>
            <c:numRef>
              <c:f>'tabulky grafy'!$R$64:$R$69</c:f>
              <c:numCache>
                <c:formatCode>###0.0</c:formatCode>
                <c:ptCount val="6"/>
                <c:pt idx="0">
                  <c:v>7.5170052024576908</c:v>
                </c:pt>
                <c:pt idx="1">
                  <c:v>8.4929884037517187</c:v>
                </c:pt>
                <c:pt idx="2">
                  <c:v>9.1119759310969819</c:v>
                </c:pt>
                <c:pt idx="3">
                  <c:v>9.4220088141814369</c:v>
                </c:pt>
                <c:pt idx="4">
                  <c:v>9.2751383295753911</c:v>
                </c:pt>
                <c:pt idx="5">
                  <c:v>9.38315714046627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9AC-4A14-8B49-605A96407DF6}"/>
            </c:ext>
          </c:extLst>
        </c:ser>
        <c:ser>
          <c:idx val="1"/>
          <c:order val="1"/>
          <c:tx>
            <c:strRef>
              <c:f>'tabulky grafy'!$S$63</c:f>
              <c:strCache>
                <c:ptCount val="1"/>
                <c:pt idx="0">
                  <c:v>webový prohlížeč</c:v>
                </c:pt>
              </c:strCache>
            </c:strRef>
          </c:tx>
          <c:spPr>
            <a:solidFill>
              <a:schemeClr val="accent5">
                <a:tint val="77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tabulky grafy'!$Q$64:$Q$69</c:f>
              <c:strCache>
                <c:ptCount val="6"/>
                <c:pt idx="0">
                  <c:v>Je bezpečné </c:v>
                </c:pt>
                <c:pt idx="1">
                  <c:v>Mám při jeho používání soukromí </c:v>
                </c:pt>
                <c:pt idx="2">
                  <c:v>Je rychlé </c:v>
                </c:pt>
                <c:pt idx="3">
                  <c:v>Mohu ho využít kdykoli a kdekoli (nemusím na pobočku) </c:v>
                </c:pt>
                <c:pt idx="4">
                  <c:v>Je pohodlné </c:v>
                </c:pt>
                <c:pt idx="5">
                  <c:v>Mám okamžitý přehled, co se na mém účtu děje </c:v>
                </c:pt>
              </c:strCache>
            </c:strRef>
          </c:cat>
          <c:val>
            <c:numRef>
              <c:f>'tabulky grafy'!$S$64:$S$69</c:f>
              <c:numCache>
                <c:formatCode>General</c:formatCode>
                <c:ptCount val="6"/>
                <c:pt idx="0">
                  <c:v>7.4758718258021446</c:v>
                </c:pt>
                <c:pt idx="1">
                  <c:v>8.3298309556526675</c:v>
                </c:pt>
                <c:pt idx="2">
                  <c:v>9.2012727970518284</c:v>
                </c:pt>
                <c:pt idx="3">
                  <c:v>9.2582239873862662</c:v>
                </c:pt>
                <c:pt idx="4">
                  <c:v>9.3351500117448385</c:v>
                </c:pt>
                <c:pt idx="5">
                  <c:v>9.37856235205833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9AC-4A14-8B49-605A96407DF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539373088"/>
        <c:axId val="547007488"/>
      </c:barChart>
      <c:catAx>
        <c:axId val="53937308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47007488"/>
        <c:crosses val="autoZero"/>
        <c:auto val="1"/>
        <c:lblAlgn val="ctr"/>
        <c:lblOffset val="100"/>
        <c:noMultiLvlLbl val="0"/>
      </c:catAx>
      <c:valAx>
        <c:axId val="547007488"/>
        <c:scaling>
          <c:orientation val="minMax"/>
        </c:scaling>
        <c:delete val="1"/>
        <c:axPos val="b"/>
        <c:numFmt formatCode="###0.0" sourceLinked="1"/>
        <c:majorTickMark val="none"/>
        <c:minorTickMark val="none"/>
        <c:tickLblPos val="nextTo"/>
        <c:crossAx val="53937308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51372544039427104"/>
          <c:y val="0.9203799577883256"/>
          <c:w val="0.42793684682595029"/>
          <c:h val="5.901909055314569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2764307599697435"/>
          <c:y val="3.1783935026343302E-2"/>
          <c:w val="0.46732733390801789"/>
          <c:h val="0.8843996116568028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'tabulky grafy'!$R$73</c:f>
              <c:strCache>
                <c:ptCount val="1"/>
                <c:pt idx="0">
                  <c:v>mobilní aplikace</c:v>
                </c:pt>
              </c:strCache>
            </c:strRef>
          </c:tx>
          <c:spPr>
            <a:solidFill>
              <a:srgbClr val="007E79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rgbClr val="007E79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tabulky grafy'!$Q$74:$Q$81</c:f>
              <c:strCache>
                <c:ptCount val="8"/>
                <c:pt idx="0">
                  <c:v>Možnost nastavení vzhledu elektronického bankovnictví </c:v>
                </c:pt>
                <c:pt idx="1">
                  <c:v>Nabídka slevových akcí na produkty a služby banky </c:v>
                </c:pt>
                <c:pt idx="2">
                  <c:v>Široká nabídka produktů a služeb (půjčky, pojištění, nastavení limitů plateb, nastavení karty apod) </c:v>
                </c:pt>
                <c:pt idx="3">
                  <c:v>Možnost průběžně sledovat a případně kategorizovat výdaje </c:v>
                </c:pt>
                <c:pt idx="4">
                  <c:v>Dlouhodobý výpis transakcí </c:v>
                </c:pt>
                <c:pt idx="5">
                  <c:v>Detailní vyhledávání plateb např pomocí data platby či jména odesílatele či příjemce (fulltext) </c:v>
                </c:pt>
                <c:pt idx="6">
                  <c:v>Jeho vysoká míra zabezpečení </c:v>
                </c:pt>
                <c:pt idx="7">
                  <c:v>Jednoduché a přehledné ovládání </c:v>
                </c:pt>
              </c:strCache>
            </c:strRef>
          </c:cat>
          <c:val>
            <c:numRef>
              <c:f>'tabulky grafy'!$R$74:$R$81</c:f>
              <c:numCache>
                <c:formatCode>###0.0000</c:formatCode>
                <c:ptCount val="8"/>
                <c:pt idx="0">
                  <c:v>5.1858623074395318</c:v>
                </c:pt>
                <c:pt idx="1">
                  <c:v>5.3983750526540497</c:v>
                </c:pt>
                <c:pt idx="2">
                  <c:v>6.6740911022254101</c:v>
                </c:pt>
                <c:pt idx="3">
                  <c:v>7.7409119577675716</c:v>
                </c:pt>
                <c:pt idx="4">
                  <c:v>7.8216920947788706</c:v>
                </c:pt>
                <c:pt idx="5">
                  <c:v>7.9328510023255561</c:v>
                </c:pt>
                <c:pt idx="6">
                  <c:v>8.6715950725270972</c:v>
                </c:pt>
                <c:pt idx="7">
                  <c:v>9.09617826542221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8FD-4ABE-9F85-87B0ADFBA3D2}"/>
            </c:ext>
          </c:extLst>
        </c:ser>
        <c:ser>
          <c:idx val="1"/>
          <c:order val="1"/>
          <c:tx>
            <c:strRef>
              <c:f>'tabulky grafy'!$S$73</c:f>
              <c:strCache>
                <c:ptCount val="1"/>
                <c:pt idx="0">
                  <c:v>webový prohlížeč</c:v>
                </c:pt>
              </c:strCache>
            </c:strRef>
          </c:tx>
          <c:spPr>
            <a:solidFill>
              <a:schemeClr val="accent5">
                <a:tint val="77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tabulky grafy'!$Q$74:$Q$81</c:f>
              <c:strCache>
                <c:ptCount val="8"/>
                <c:pt idx="0">
                  <c:v>Možnost nastavení vzhledu elektronického bankovnictví </c:v>
                </c:pt>
                <c:pt idx="1">
                  <c:v>Nabídka slevových akcí na produkty a služby banky </c:v>
                </c:pt>
                <c:pt idx="2">
                  <c:v>Široká nabídka produktů a služeb (půjčky, pojištění, nastavení limitů plateb, nastavení karty apod) </c:v>
                </c:pt>
                <c:pt idx="3">
                  <c:v>Možnost průběžně sledovat a případně kategorizovat výdaje </c:v>
                </c:pt>
                <c:pt idx="4">
                  <c:v>Dlouhodobý výpis transakcí </c:v>
                </c:pt>
                <c:pt idx="5">
                  <c:v>Detailní vyhledávání plateb např pomocí data platby či jména odesílatele či příjemce (fulltext) </c:v>
                </c:pt>
                <c:pt idx="6">
                  <c:v>Jeho vysoká míra zabezpečení </c:v>
                </c:pt>
                <c:pt idx="7">
                  <c:v>Jednoduché a přehledné ovládání </c:v>
                </c:pt>
              </c:strCache>
            </c:strRef>
          </c:cat>
          <c:val>
            <c:numRef>
              <c:f>'tabulky grafy'!$S$74:$S$81</c:f>
              <c:numCache>
                <c:formatCode>###0.0</c:formatCode>
                <c:ptCount val="8"/>
                <c:pt idx="0">
                  <c:v>5.2199997787584351</c:v>
                </c:pt>
                <c:pt idx="1">
                  <c:v>5.3531736906322465</c:v>
                </c:pt>
                <c:pt idx="2">
                  <c:v>7.311873679201037</c:v>
                </c:pt>
                <c:pt idx="3">
                  <c:v>7.9218567457576077</c:v>
                </c:pt>
                <c:pt idx="4">
                  <c:v>8.4283748128416889</c:v>
                </c:pt>
                <c:pt idx="5">
                  <c:v>8.6458939345775399</c:v>
                </c:pt>
                <c:pt idx="6">
                  <c:v>8.7049438062886217</c:v>
                </c:pt>
                <c:pt idx="7">
                  <c:v>9.08493811045257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8FD-4ABE-9F85-87B0ADFBA3D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466637616"/>
        <c:axId val="539096400"/>
      </c:barChart>
      <c:catAx>
        <c:axId val="46663761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39096400"/>
        <c:crosses val="autoZero"/>
        <c:auto val="1"/>
        <c:lblAlgn val="ctr"/>
        <c:lblOffset val="100"/>
        <c:noMultiLvlLbl val="0"/>
      </c:catAx>
      <c:valAx>
        <c:axId val="539096400"/>
        <c:scaling>
          <c:orientation val="minMax"/>
        </c:scaling>
        <c:delete val="1"/>
        <c:axPos val="b"/>
        <c:numFmt formatCode="###0.0000" sourceLinked="1"/>
        <c:majorTickMark val="none"/>
        <c:minorTickMark val="none"/>
        <c:tickLblPos val="nextTo"/>
        <c:crossAx val="46663761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9588887219515931"/>
          <c:y val="2.8127696116183293E-2"/>
          <c:w val="0.50411112780484069"/>
          <c:h val="0.92605234731362362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'tabulky grafy'!$R$117</c:f>
              <c:strCache>
                <c:ptCount val="1"/>
                <c:pt idx="0">
                  <c:v>mobilní aplikace</c:v>
                </c:pt>
              </c:strCache>
            </c:strRef>
          </c:tx>
          <c:spPr>
            <a:solidFill>
              <a:srgbClr val="007E79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5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548A-41EF-8732-BE2D6536B4CC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13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548A-41EF-8732-BE2D6536B4CC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/>
                      <a:t>5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548A-41EF-8732-BE2D6536B4CC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/>
                      <a:t>7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548A-41EF-8732-BE2D6536B4CC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/>
                      <a:t>6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548A-41EF-8732-BE2D6536B4CC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r>
                      <a:rPr lang="en-US"/>
                      <a:t>10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548A-41EF-8732-BE2D6536B4CC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r>
                      <a:rPr lang="en-US"/>
                      <a:t>12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548A-41EF-8732-BE2D6536B4CC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r>
                      <a:rPr lang="en-US"/>
                      <a:t>10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548A-41EF-8732-BE2D6536B4CC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r>
                      <a:rPr lang="en-US"/>
                      <a:t>8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548A-41EF-8732-BE2D6536B4CC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r>
                      <a:rPr lang="en-US"/>
                      <a:t>60 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48A-41EF-8732-BE2D6536B4C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rgbClr val="007E79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tabulky grafy'!$Q$118:$Q$127</c:f>
              <c:strCache>
                <c:ptCount val="10"/>
                <c:pt idx="0">
                  <c:v>Je pomalé</c:v>
                </c:pt>
                <c:pt idx="1">
                  <c:v>Nízké zabezpečení</c:v>
                </c:pt>
                <c:pt idx="2">
                  <c:v>Malá nabídka produktů a služeb, které lze využít (často musím na pobočku)</c:v>
                </c:pt>
                <c:pt idx="3">
                  <c:v>Složitá autorizace plateb (ověřování, když chci něco zaplatit)</c:v>
                </c:pt>
                <c:pt idx="4">
                  <c:v>Složité přihlašování</c:v>
                </c:pt>
                <c:pt idx="5">
                  <c:v>Časté výpadky / odstávky</c:v>
                </c:pt>
                <c:pt idx="6">
                  <c:v>Složité vyhledávání konkrétních plateb (Nemohu vyhledat např platbu v supermarketu vypsáním jména obchodníka)</c:v>
                </c:pt>
                <c:pt idx="7">
                  <c:v>Nepřehledné ovládání</c:v>
                </c:pt>
                <c:pt idx="8">
                  <c:v>Krátká transakční historie – nevidím dostatečně dozadu, co jsem kdy platil/a</c:v>
                </c:pt>
                <c:pt idx="9">
                  <c:v>Nic, jsem spokojen/a</c:v>
                </c:pt>
              </c:strCache>
            </c:strRef>
          </c:cat>
          <c:val>
            <c:numRef>
              <c:f>'tabulky grafy'!$R$118:$R$127</c:f>
              <c:numCache>
                <c:formatCode>###0%</c:formatCode>
                <c:ptCount val="10"/>
                <c:pt idx="0">
                  <c:v>5.1150335278438083E-2</c:v>
                </c:pt>
                <c:pt idx="1">
                  <c:v>0.12755623164559637</c:v>
                </c:pt>
                <c:pt idx="2">
                  <c:v>4.7948950085983572E-2</c:v>
                </c:pt>
                <c:pt idx="3">
                  <c:v>7.3107621948160936E-2</c:v>
                </c:pt>
                <c:pt idx="4">
                  <c:v>5.7914763632091665E-2</c:v>
                </c:pt>
                <c:pt idx="5">
                  <c:v>9.7684115869522456E-2</c:v>
                </c:pt>
                <c:pt idx="6">
                  <c:v>0.11858490622221733</c:v>
                </c:pt>
                <c:pt idx="7">
                  <c:v>0.10375001682882788</c:v>
                </c:pt>
                <c:pt idx="8">
                  <c:v>8.2270726054087723E-2</c:v>
                </c:pt>
                <c:pt idx="9">
                  <c:v>0.595678943376204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271-467F-9441-23ED4DCEBF2D}"/>
            </c:ext>
          </c:extLst>
        </c:ser>
        <c:ser>
          <c:idx val="1"/>
          <c:order val="1"/>
          <c:tx>
            <c:strRef>
              <c:f>'tabulky grafy'!$S$117</c:f>
              <c:strCache>
                <c:ptCount val="1"/>
                <c:pt idx="0">
                  <c:v>webový prohlížeč</c:v>
                </c:pt>
              </c:strCache>
            </c:strRef>
          </c:tx>
          <c:spPr>
            <a:solidFill>
              <a:schemeClr val="accent5">
                <a:tint val="77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4 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548A-41EF-8732-BE2D6536B4CC}"/>
                </c:ext>
              </c:extLst>
            </c:dLbl>
            <c:dLbl>
              <c:idx val="1"/>
              <c:layout>
                <c:manualLayout>
                  <c:x val="-1.1540437946284034E-16"/>
                  <c:y val="-7.7015548448742177E-3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7 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548A-41EF-8732-BE2D6536B4CC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/>
                      <a:t>7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548A-41EF-8732-BE2D6536B4CC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/>
                      <a:t>9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548A-41EF-8732-BE2D6536B4CC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/>
                      <a:t>11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548A-41EF-8732-BE2D6536B4CC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r>
                      <a:rPr lang="en-US"/>
                      <a:t>11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548A-41EF-8732-BE2D6536B4CC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r>
                      <a:rPr lang="en-US"/>
                      <a:t>11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548A-41EF-8732-BE2D6536B4CC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r>
                      <a:rPr lang="en-US"/>
                      <a:t>12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548A-41EF-8732-BE2D6536B4CC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r>
                      <a:rPr lang="en-US" b="1"/>
                      <a:t>14 %</a:t>
                    </a:r>
                    <a:endParaRPr lang="en-US" b="1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548A-41EF-8732-BE2D6536B4CC}"/>
                </c:ext>
              </c:extLst>
            </c:dLbl>
            <c:dLbl>
              <c:idx val="9"/>
              <c:layout>
                <c:manualLayout>
                  <c:x val="6.294857052222531E-3"/>
                  <c:y val="-1.5403109689748626E-2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57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548A-41EF-8732-BE2D6536B4C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tabulky grafy'!$Q$118:$Q$127</c:f>
              <c:strCache>
                <c:ptCount val="10"/>
                <c:pt idx="0">
                  <c:v>Je pomalé</c:v>
                </c:pt>
                <c:pt idx="1">
                  <c:v>Nízké zabezpečení</c:v>
                </c:pt>
                <c:pt idx="2">
                  <c:v>Malá nabídka produktů a služeb, které lze využít (často musím na pobočku)</c:v>
                </c:pt>
                <c:pt idx="3">
                  <c:v>Složitá autorizace plateb (ověřování, když chci něco zaplatit)</c:v>
                </c:pt>
                <c:pt idx="4">
                  <c:v>Složité přihlašování</c:v>
                </c:pt>
                <c:pt idx="5">
                  <c:v>Časté výpadky / odstávky</c:v>
                </c:pt>
                <c:pt idx="6">
                  <c:v>Složité vyhledávání konkrétních plateb (Nemohu vyhledat např platbu v supermarketu vypsáním jména obchodníka)</c:v>
                </c:pt>
                <c:pt idx="7">
                  <c:v>Nepřehledné ovládání</c:v>
                </c:pt>
                <c:pt idx="8">
                  <c:v>Krátká transakční historie – nevidím dostatečně dozadu, co jsem kdy platil/a</c:v>
                </c:pt>
                <c:pt idx="9">
                  <c:v>Nic, jsem spokojen/a</c:v>
                </c:pt>
              </c:strCache>
            </c:strRef>
          </c:cat>
          <c:val>
            <c:numRef>
              <c:f>'tabulky grafy'!$S$118:$S$127</c:f>
              <c:numCache>
                <c:formatCode>###0%</c:formatCode>
                <c:ptCount val="10"/>
                <c:pt idx="0">
                  <c:v>3.7667979110975781E-2</c:v>
                </c:pt>
                <c:pt idx="1">
                  <c:v>6.928350358308398E-2</c:v>
                </c:pt>
                <c:pt idx="2">
                  <c:v>7.1620077934921936E-2</c:v>
                </c:pt>
                <c:pt idx="3">
                  <c:v>9.2582832937229409E-2</c:v>
                </c:pt>
                <c:pt idx="4">
                  <c:v>0.10767722259374836</c:v>
                </c:pt>
                <c:pt idx="5">
                  <c:v>0.10935892153888668</c:v>
                </c:pt>
                <c:pt idx="6">
                  <c:v>0.11006937316915692</c:v>
                </c:pt>
                <c:pt idx="7">
                  <c:v>0.12090108958775177</c:v>
                </c:pt>
                <c:pt idx="8">
                  <c:v>0.13595225070376754</c:v>
                </c:pt>
                <c:pt idx="9">
                  <c:v>0.569744279967774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271-467F-9441-23ED4DCEBF2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2"/>
        <c:axId val="634104224"/>
        <c:axId val="547690656"/>
      </c:barChart>
      <c:catAx>
        <c:axId val="63410422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47690656"/>
        <c:crosses val="autoZero"/>
        <c:auto val="1"/>
        <c:lblAlgn val="ctr"/>
        <c:lblOffset val="100"/>
        <c:noMultiLvlLbl val="0"/>
      </c:catAx>
      <c:valAx>
        <c:axId val="547690656"/>
        <c:scaling>
          <c:orientation val="minMax"/>
        </c:scaling>
        <c:delete val="1"/>
        <c:axPos val="b"/>
        <c:numFmt formatCode="###0%" sourceLinked="1"/>
        <c:majorTickMark val="none"/>
        <c:minorTickMark val="none"/>
        <c:tickLblPos val="nextTo"/>
        <c:crossAx val="6341042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72535763624995775"/>
          <c:y val="0.79711092644449133"/>
          <c:w val="0.25766797900262467"/>
          <c:h val="0.1389894145059694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cs-CZ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437022905703258E-2"/>
          <c:y val="0.14111813798135628"/>
          <c:w val="0.96712595418859348"/>
          <c:h val="0.6503319712627666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tabulky grafy'!$E$154</c:f>
              <c:strCache>
                <c:ptCount val="1"/>
                <c:pt idx="0">
                  <c:v>Určitě ano</c:v>
                </c:pt>
              </c:strCache>
            </c:strRef>
          </c:tx>
          <c:spPr>
            <a:solidFill>
              <a:srgbClr val="007E79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66C927C0-0616-44D7-9AC9-04570096FAF5}" type="SERIESNAME">
                      <a:rPr lang="en-US"/>
                      <a:pPr/>
                      <a:t>[NÁZEV ŘADY]</a:t>
                    </a:fld>
                    <a:r>
                      <a:rPr lang="en-US" baseline="0"/>
                      <a:t>
8 %</a:t>
                    </a:r>
                  </a:p>
                </c:rich>
              </c:tx>
              <c:showLegendKey val="0"/>
              <c:showVal val="1"/>
              <c:showCatName val="0"/>
              <c:showSerName val="1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0484-4C31-B9B4-F0FF4406F893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4D564E01-F283-48B9-AA2F-FDBC47A5C979}" type="SERIESNAME">
                      <a:rPr lang="en-US"/>
                      <a:pPr/>
                      <a:t>[NÁZEV ŘADY]</a:t>
                    </a:fld>
                    <a:r>
                      <a:rPr lang="en-US" baseline="0"/>
                      <a:t>
6 %</a:t>
                    </a:r>
                  </a:p>
                </c:rich>
              </c:tx>
              <c:showLegendKey val="0"/>
              <c:showVal val="1"/>
              <c:showCatName val="0"/>
              <c:showSerName val="1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0484-4C31-B9B4-F0FF4406F89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tabulky grafy'!$D$155:$D$156</c:f>
              <c:strCache>
                <c:ptCount val="2"/>
                <c:pt idx="0">
                  <c:v>webový prohlížeč</c:v>
                </c:pt>
                <c:pt idx="1">
                  <c:v>mobilní aplikace</c:v>
                </c:pt>
              </c:strCache>
            </c:strRef>
          </c:cat>
          <c:val>
            <c:numRef>
              <c:f>'tabulky grafy'!$E$155:$E$156</c:f>
              <c:numCache>
                <c:formatCode>###0%</c:formatCode>
                <c:ptCount val="2"/>
                <c:pt idx="0">
                  <c:v>7.5570548964716169E-2</c:v>
                </c:pt>
                <c:pt idx="1">
                  <c:v>6.032471766740050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3E7-4F6A-90DC-86CD7841D3CE}"/>
            </c:ext>
          </c:extLst>
        </c:ser>
        <c:ser>
          <c:idx val="1"/>
          <c:order val="1"/>
          <c:tx>
            <c:strRef>
              <c:f>'tabulky grafy'!$F$154</c:f>
              <c:strCache>
                <c:ptCount val="1"/>
                <c:pt idx="0">
                  <c:v>Spíše ano</c:v>
                </c:pt>
              </c:strCache>
            </c:strRef>
          </c:tx>
          <c:spPr>
            <a:solidFill>
              <a:srgbClr val="AFD7CF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8FFAC705-2989-490F-8E37-3D80231F27B2}" type="SERIESNAME">
                      <a:rPr lang="en-US"/>
                      <a:pPr/>
                      <a:t>[NÁZEV ŘADY]</a:t>
                    </a:fld>
                    <a:r>
                      <a:rPr lang="en-US" baseline="0"/>
                      <a:t>
20 %</a:t>
                    </a:r>
                  </a:p>
                </c:rich>
              </c:tx>
              <c:showLegendKey val="0"/>
              <c:showVal val="1"/>
              <c:showCatName val="0"/>
              <c:showSerName val="1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0484-4C31-B9B4-F0FF4406F893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C516AC4C-2F97-45DF-9A57-14A50746F60A}" type="SERIESNAME">
                      <a:rPr lang="en-US"/>
                      <a:pPr/>
                      <a:t>[NÁZEV ŘADY]</a:t>
                    </a:fld>
                    <a:r>
                      <a:rPr lang="en-US" baseline="0"/>
                      <a:t>
14 %</a:t>
                    </a:r>
                  </a:p>
                </c:rich>
              </c:tx>
              <c:showLegendKey val="0"/>
              <c:showVal val="1"/>
              <c:showCatName val="0"/>
              <c:showSerName val="1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0484-4C31-B9B4-F0FF4406F89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tabulky grafy'!$D$155:$D$156</c:f>
              <c:strCache>
                <c:ptCount val="2"/>
                <c:pt idx="0">
                  <c:v>webový prohlížeč</c:v>
                </c:pt>
                <c:pt idx="1">
                  <c:v>mobilní aplikace</c:v>
                </c:pt>
              </c:strCache>
            </c:strRef>
          </c:cat>
          <c:val>
            <c:numRef>
              <c:f>'tabulky grafy'!$F$155:$F$156</c:f>
              <c:numCache>
                <c:formatCode>###0%</c:formatCode>
                <c:ptCount val="2"/>
                <c:pt idx="0">
                  <c:v>0.19581443418373484</c:v>
                </c:pt>
                <c:pt idx="1">
                  <c:v>0.136713718120954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3E7-4F6A-90DC-86CD7841D3CE}"/>
            </c:ext>
          </c:extLst>
        </c:ser>
        <c:ser>
          <c:idx val="2"/>
          <c:order val="2"/>
          <c:tx>
            <c:strRef>
              <c:f>'tabulky grafy'!$G$154</c:f>
              <c:strCache>
                <c:ptCount val="1"/>
                <c:pt idx="0">
                  <c:v>Spíše ne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CB108F33-07D1-4EA3-921A-FADC5C5E7A3B}" type="SERIESNAME">
                      <a:rPr lang="en-US"/>
                      <a:pPr/>
                      <a:t>[NÁZEV ŘADY]</a:t>
                    </a:fld>
                    <a:r>
                      <a:rPr lang="en-US" baseline="0"/>
                      <a:t>
52 %</a:t>
                    </a:r>
                  </a:p>
                </c:rich>
              </c:tx>
              <c:showLegendKey val="0"/>
              <c:showVal val="1"/>
              <c:showCatName val="0"/>
              <c:showSerName val="1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0484-4C31-B9B4-F0FF4406F893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2811BF4B-7165-47AC-A676-A8BDDA0B9660}" type="SERIESNAME">
                      <a:rPr lang="en-US"/>
                      <a:pPr/>
                      <a:t>[NÁZEV ŘADY]</a:t>
                    </a:fld>
                    <a:r>
                      <a:rPr lang="en-US" baseline="0"/>
                      <a:t>
52 %</a:t>
                    </a:r>
                  </a:p>
                </c:rich>
              </c:tx>
              <c:showLegendKey val="0"/>
              <c:showVal val="1"/>
              <c:showCatName val="0"/>
              <c:showSerName val="1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0484-4C31-B9B4-F0FF4406F89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tabulky grafy'!$D$155:$D$156</c:f>
              <c:strCache>
                <c:ptCount val="2"/>
                <c:pt idx="0">
                  <c:v>webový prohlížeč</c:v>
                </c:pt>
                <c:pt idx="1">
                  <c:v>mobilní aplikace</c:v>
                </c:pt>
              </c:strCache>
            </c:strRef>
          </c:cat>
          <c:val>
            <c:numRef>
              <c:f>'tabulky grafy'!$G$155:$G$156</c:f>
              <c:numCache>
                <c:formatCode>###0%</c:formatCode>
                <c:ptCount val="2"/>
                <c:pt idx="0">
                  <c:v>0.51795902163343732</c:v>
                </c:pt>
                <c:pt idx="1">
                  <c:v>0.522579776479452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3E7-4F6A-90DC-86CD7841D3CE}"/>
            </c:ext>
          </c:extLst>
        </c:ser>
        <c:ser>
          <c:idx val="3"/>
          <c:order val="3"/>
          <c:tx>
            <c:strRef>
              <c:f>'tabulky grafy'!$H$154</c:f>
              <c:strCache>
                <c:ptCount val="1"/>
                <c:pt idx="0">
                  <c:v>Určitě ne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B53BC036-56F3-43FF-9E78-FF0F1A810F82}" type="SERIESNAME">
                      <a:rPr lang="en-US"/>
                      <a:pPr/>
                      <a:t>[NÁZEV ŘADY]</a:t>
                    </a:fld>
                    <a:r>
                      <a:rPr lang="en-US" baseline="0"/>
                      <a:t>
21 %</a:t>
                    </a:r>
                  </a:p>
                </c:rich>
              </c:tx>
              <c:showLegendKey val="0"/>
              <c:showVal val="1"/>
              <c:showCatName val="0"/>
              <c:showSerName val="1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0484-4C31-B9B4-F0FF4406F893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7B21ED55-E5D8-49B6-927A-87694632F212}" type="SERIESNAME">
                      <a:rPr lang="en-US"/>
                      <a:pPr/>
                      <a:t>[NÁZEV ŘADY]</a:t>
                    </a:fld>
                    <a:r>
                      <a:rPr lang="en-US" baseline="0" dirty="0"/>
                      <a:t>
28 %</a:t>
                    </a:r>
                  </a:p>
                </c:rich>
              </c:tx>
              <c:showLegendKey val="0"/>
              <c:showVal val="1"/>
              <c:showCatName val="0"/>
              <c:showSerName val="1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0484-4C31-B9B4-F0FF4406F89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tabulky grafy'!$D$155:$D$156</c:f>
              <c:strCache>
                <c:ptCount val="2"/>
                <c:pt idx="0">
                  <c:v>webový prohlížeč</c:v>
                </c:pt>
                <c:pt idx="1">
                  <c:v>mobilní aplikace</c:v>
                </c:pt>
              </c:strCache>
            </c:strRef>
          </c:cat>
          <c:val>
            <c:numRef>
              <c:f>'tabulky grafy'!$H$155:$H$156</c:f>
              <c:numCache>
                <c:formatCode>###0%</c:formatCode>
                <c:ptCount val="2"/>
                <c:pt idx="0">
                  <c:v>0.21065599521810824</c:v>
                </c:pt>
                <c:pt idx="1">
                  <c:v>0.280381787732188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3E7-4F6A-90DC-86CD7841D3C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49984976"/>
        <c:axId val="629557632"/>
      </c:barChart>
      <c:catAx>
        <c:axId val="5499849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629557632"/>
        <c:crosses val="autoZero"/>
        <c:auto val="1"/>
        <c:lblAlgn val="ctr"/>
        <c:lblOffset val="100"/>
        <c:noMultiLvlLbl val="0"/>
      </c:catAx>
      <c:valAx>
        <c:axId val="629557632"/>
        <c:scaling>
          <c:orientation val="minMax"/>
        </c:scaling>
        <c:delete val="1"/>
        <c:axPos val="l"/>
        <c:numFmt formatCode="###0%" sourceLinked="1"/>
        <c:majorTickMark val="none"/>
        <c:minorTickMark val="none"/>
        <c:tickLblPos val="nextTo"/>
        <c:crossAx val="5499849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50" b="1"/>
      </a:pPr>
      <a:endParaRPr lang="cs-CZ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6749106870537631"/>
          <c:y val="0.18488991134301533"/>
          <c:w val="0.57531848424017051"/>
          <c:h val="0.60436320807105348"/>
        </c:manualLayout>
      </c:layout>
      <c:doughnutChart>
        <c:varyColors val="1"/>
        <c:ser>
          <c:idx val="0"/>
          <c:order val="0"/>
          <c:tx>
            <c:v>o</c:v>
          </c:tx>
          <c:dPt>
            <c:idx val="0"/>
            <c:bubble3D val="0"/>
            <c:spPr>
              <a:solidFill>
                <a:schemeClr val="accent5">
                  <a:shade val="53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2DF-40AD-8ACD-1422FB9E3BE8}"/>
              </c:ext>
            </c:extLst>
          </c:dPt>
          <c:dPt>
            <c:idx val="1"/>
            <c:bubble3D val="0"/>
            <c:spPr>
              <a:solidFill>
                <a:schemeClr val="accent5">
                  <a:shade val="76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C2DF-40AD-8ACD-1422FB9E3BE8}"/>
              </c:ext>
            </c:extLst>
          </c:dPt>
          <c:dPt>
            <c:idx val="2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C2DF-40AD-8ACD-1422FB9E3BE8}"/>
              </c:ext>
            </c:extLst>
          </c:dPt>
          <c:dPt>
            <c:idx val="3"/>
            <c:bubble3D val="0"/>
            <c:spPr>
              <a:solidFill>
                <a:schemeClr val="accent5">
                  <a:tint val="77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C2DF-40AD-8ACD-1422FB9E3BE8}"/>
              </c:ext>
            </c:extLst>
          </c:dPt>
          <c:dPt>
            <c:idx val="4"/>
            <c:bubble3D val="0"/>
            <c:spPr>
              <a:solidFill>
                <a:schemeClr val="accent5">
                  <a:tint val="54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C2DF-40AD-8ACD-1422FB9E3BE8}"/>
              </c:ext>
            </c:extLst>
          </c:dPt>
          <c:dLbls>
            <c:dLbl>
              <c:idx val="0"/>
              <c:layout>
                <c:manualLayout>
                  <c:x val="6.4817288774026371E-2"/>
                  <c:y val="-0.21011835088163863"/>
                </c:manualLayout>
              </c:layout>
              <c:tx>
                <c:rich>
                  <a:bodyPr/>
                  <a:lstStyle/>
                  <a:p>
                    <a:fld id="{75D0A66F-1DD2-4355-BFBE-1D07066788C4}" type="CATEGORYNAME">
                      <a:rPr lang="en-US"/>
                      <a:pPr/>
                      <a:t>[NÁZEV KATEGORIE]</a:t>
                    </a:fld>
                    <a:r>
                      <a:rPr lang="en-US" baseline="0" dirty="0"/>
                      <a:t>; </a:t>
                    </a:r>
                  </a:p>
                  <a:p>
                    <a:r>
                      <a:rPr lang="en-US" b="1" baseline="0" dirty="0"/>
                      <a:t>34 %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C2DF-40AD-8ACD-1422FB9E3BE8}"/>
                </c:ext>
              </c:extLst>
            </c:dLbl>
            <c:dLbl>
              <c:idx val="1"/>
              <c:layout>
                <c:manualLayout>
                  <c:x val="0.16877901222308911"/>
                  <c:y val="6.8148826309183577E-2"/>
                </c:manualLayout>
              </c:layout>
              <c:tx>
                <c:rich>
                  <a:bodyPr/>
                  <a:lstStyle/>
                  <a:p>
                    <a:fld id="{F489A63D-33FD-444E-A4B7-0BDD03F1E36A}" type="CATEGORYNAME">
                      <a:rPr lang="en-US"/>
                      <a:pPr/>
                      <a:t>[NÁZEV KATEGORIE]</a:t>
                    </a:fld>
                    <a:r>
                      <a:rPr lang="en-US" baseline="0" dirty="0"/>
                      <a:t>; </a:t>
                    </a:r>
                  </a:p>
                  <a:p>
                    <a:r>
                      <a:rPr lang="en-US" b="1" baseline="0" dirty="0"/>
                      <a:t>9 %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C2DF-40AD-8ACD-1422FB9E3BE8}"/>
                </c:ext>
              </c:extLst>
            </c:dLbl>
            <c:dLbl>
              <c:idx val="2"/>
              <c:layout>
                <c:manualLayout>
                  <c:x val="2.9114525652797287E-2"/>
                  <c:y val="0.13975216702363891"/>
                </c:manualLayout>
              </c:layout>
              <c:tx>
                <c:rich>
                  <a:bodyPr/>
                  <a:lstStyle/>
                  <a:p>
                    <a:fld id="{329205A5-ECDD-4A7A-B571-B071868870A7}" type="CATEGORYNAME">
                      <a:rPr lang="en-US"/>
                      <a:pPr/>
                      <a:t>[NÁZEV KATEGORIE]</a:t>
                    </a:fld>
                    <a:r>
                      <a:rPr lang="en-US" baseline="0" dirty="0"/>
                      <a:t>; </a:t>
                    </a:r>
                  </a:p>
                  <a:p>
                    <a:r>
                      <a:rPr lang="en-US" b="1" baseline="0" dirty="0"/>
                      <a:t>4 %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C2DF-40AD-8ACD-1422FB9E3BE8}"/>
                </c:ext>
              </c:extLst>
            </c:dLbl>
            <c:dLbl>
              <c:idx val="3"/>
              <c:layout>
                <c:manualLayout>
                  <c:x val="-0.12127563872352902"/>
                  <c:y val="0.20219802364103323"/>
                </c:manualLayout>
              </c:layout>
              <c:tx>
                <c:rich>
                  <a:bodyPr/>
                  <a:lstStyle/>
                  <a:p>
                    <a:fld id="{DBAC35A1-19B5-4235-AD07-92E2F94E4104}" type="CATEGORYNAME">
                      <a:rPr lang="en-US"/>
                      <a:pPr/>
                      <a:t>[NÁZEV KATEGORIE]</a:t>
                    </a:fld>
                    <a:r>
                      <a:rPr lang="en-US" baseline="0" dirty="0"/>
                      <a:t>;</a:t>
                    </a:r>
                  </a:p>
                  <a:p>
                    <a:r>
                      <a:rPr lang="en-US" b="1" baseline="0" dirty="0"/>
                      <a:t>39 %</a:t>
                    </a:r>
                    <a:r>
                      <a:rPr lang="en-US" baseline="0" dirty="0"/>
                      <a:t> 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C2DF-40AD-8ACD-1422FB9E3BE8}"/>
                </c:ext>
              </c:extLst>
            </c:dLbl>
            <c:dLbl>
              <c:idx val="4"/>
              <c:layout>
                <c:manualLayout>
                  <c:x val="-7.5000000000000053E-2"/>
                  <c:y val="-9.0882439167399617E-2"/>
                </c:manualLayout>
              </c:layout>
              <c:tx>
                <c:rich>
                  <a:bodyPr/>
                  <a:lstStyle/>
                  <a:p>
                    <a:fld id="{E7ED58E4-92A5-4192-9B9E-3A2710B05D2A}" type="CATEGORYNAME">
                      <a:rPr lang="en-US"/>
                      <a:pPr/>
                      <a:t>[NÁZEV KATEGORIE]</a:t>
                    </a:fld>
                    <a:r>
                      <a:rPr lang="en-US" baseline="0" dirty="0"/>
                      <a:t>; </a:t>
                    </a:r>
                  </a:p>
                  <a:p>
                    <a:r>
                      <a:rPr lang="en-US" b="1" baseline="0" dirty="0"/>
                      <a:t>15 %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C2DF-40AD-8ACD-1422FB9E3BE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C$42:$G$42</c:f>
              <c:strCache>
                <c:ptCount val="5"/>
                <c:pt idx="0">
                  <c:v>Není to bezpečné (někdo by mohl získat mé údaje a přístup k účtu)</c:v>
                </c:pt>
                <c:pt idx="1">
                  <c:v>Nemám vhodné zařízení</c:v>
                </c:pt>
                <c:pt idx="2">
                  <c:v>Není to pro mě pohodlný způsob</c:v>
                </c:pt>
                <c:pt idx="3">
                  <c:v>Jsem zvyklý/á vše vyřizovat na pobočce banky</c:v>
                </c:pt>
                <c:pt idx="4">
                  <c:v>Jiné</c:v>
                </c:pt>
              </c:strCache>
            </c:strRef>
          </c:cat>
          <c:val>
            <c:numRef>
              <c:f>Sheet1!$C$43:$G$43</c:f>
              <c:numCache>
                <c:formatCode>###0%</c:formatCode>
                <c:ptCount val="5"/>
                <c:pt idx="0">
                  <c:v>0.33659974559618411</c:v>
                </c:pt>
                <c:pt idx="1">
                  <c:v>9.1188687742298949E-2</c:v>
                </c:pt>
                <c:pt idx="2">
                  <c:v>3.8793149634414395E-2</c:v>
                </c:pt>
                <c:pt idx="3">
                  <c:v>0.38665679118731316</c:v>
                </c:pt>
                <c:pt idx="4">
                  <c:v>0.146761625839789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C2DF-40AD-8ACD-1422FB9E3B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/>
  </c:chart>
  <c:spPr>
    <a:solidFill>
      <a:schemeClr val="bg1">
        <a:alpha val="0"/>
      </a:schemeClr>
    </a:solidFill>
    <a:ln w="9525" cap="flat" cmpd="sng" algn="ctr">
      <a:noFill/>
      <a:prstDash val="solid"/>
      <a:round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6562537855844943"/>
          <c:y val="3.3984587004556657E-2"/>
          <c:w val="0.53437462144155057"/>
          <c:h val="0.93203082599088671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Pt>
            <c:idx val="5"/>
            <c:invertIfNegative val="0"/>
            <c:bubble3D val="0"/>
            <c:spPr>
              <a:solidFill>
                <a:srgbClr val="007E79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733-4174-A021-9F85EC4F4123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35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10A9-4756-B576-7782A9146329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40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10A9-4756-B576-7782A9146329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/>
                      <a:t>41</a:t>
                    </a:r>
                    <a:r>
                      <a:rPr lang="en-US" baseline="0"/>
                      <a:t>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10A9-4756-B576-7782A9146329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/>
                      <a:t>43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10A9-4756-B576-7782A9146329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/>
                      <a:t>46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10A9-4756-B576-7782A9146329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r>
                      <a:rPr lang="en-US"/>
                      <a:t>53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4733-4174-A021-9F85EC4F4123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r>
                      <a:rPr lang="en-US"/>
                      <a:t>54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10A9-4756-B576-7782A914632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3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I$123:$I$129</c:f>
              <c:strCache>
                <c:ptCount val="7"/>
                <c:pt idx="0">
                  <c:v>Získal bych slevu na službu někoho dalšího (př.  operátor, síť supermarketů apod.) </c:v>
                </c:pt>
                <c:pt idx="1">
                  <c:v>Získal bych zdarma nebo se slevou chytrý telefon/ tablet s bankovní mobilní aplikací </c:v>
                </c:pt>
                <c:pt idx="2">
                  <c:v>Aplikace by byla přehlednější a jednodušší </c:v>
                </c:pt>
                <c:pt idx="3">
                  <c:v>Získal bych slevu na bankovních produktech a službách </c:v>
                </c:pt>
                <c:pt idx="4">
                  <c:v>Mobilní data by byla levnější </c:v>
                </c:pt>
                <c:pt idx="5">
                  <c:v>Nic, aplikaci nevyužívám z principu </c:v>
                </c:pt>
                <c:pt idx="6">
                  <c:v>Banka by nabídla lepší zabezpečení své aplikace </c:v>
                </c:pt>
              </c:strCache>
            </c:strRef>
          </c:cat>
          <c:val>
            <c:numRef>
              <c:f>Sheet1!$J$123:$J$129</c:f>
              <c:numCache>
                <c:formatCode>###0%</c:formatCode>
                <c:ptCount val="7"/>
                <c:pt idx="0">
                  <c:v>0.35129029756566144</c:v>
                </c:pt>
                <c:pt idx="1">
                  <c:v>0.39604017709036171</c:v>
                </c:pt>
                <c:pt idx="2">
                  <c:v>0.40794723385703002</c:v>
                </c:pt>
                <c:pt idx="3">
                  <c:v>0.43048834504479361</c:v>
                </c:pt>
                <c:pt idx="4">
                  <c:v>0.46409073148061841</c:v>
                </c:pt>
                <c:pt idx="5">
                  <c:v>0.52867688238681987</c:v>
                </c:pt>
                <c:pt idx="6">
                  <c:v>0.536690436554411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733-4174-A021-9F85EC4F41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32"/>
        <c:axId val="674861456"/>
        <c:axId val="591762672"/>
      </c:barChart>
      <c:catAx>
        <c:axId val="67486145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3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91762672"/>
        <c:crosses val="autoZero"/>
        <c:auto val="1"/>
        <c:lblAlgn val="ctr"/>
        <c:lblOffset val="100"/>
        <c:noMultiLvlLbl val="0"/>
      </c:catAx>
      <c:valAx>
        <c:axId val="591762672"/>
        <c:scaling>
          <c:orientation val="minMax"/>
        </c:scaling>
        <c:delete val="1"/>
        <c:axPos val="b"/>
        <c:numFmt formatCode="###0%" sourceLinked="1"/>
        <c:majorTickMark val="none"/>
        <c:minorTickMark val="none"/>
        <c:tickLblPos val="nextTo"/>
        <c:crossAx val="6748614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300" b="1"/>
      </a:pPr>
      <a:endParaRPr lang="cs-CZ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2871272345988386E-3"/>
          <c:y val="5.7892364646682785E-2"/>
          <c:w val="0.959287528840429"/>
          <c:h val="0.75702073127857228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7E79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B30-42A8-9D53-10DECAF0C16F}"/>
              </c:ext>
            </c:extLst>
          </c:dPt>
          <c:dPt>
            <c:idx val="1"/>
            <c:invertIfNegative val="0"/>
            <c:bubble3D val="0"/>
            <c:spPr>
              <a:solidFill>
                <a:srgbClr val="007E79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B30-42A8-9D53-10DECAF0C16F}"/>
              </c:ext>
            </c:extLst>
          </c:dPt>
          <c:dPt>
            <c:idx val="2"/>
            <c:invertIfNegative val="0"/>
            <c:bubble3D val="0"/>
            <c:spPr>
              <a:solidFill>
                <a:srgbClr val="007E79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B30-42A8-9D53-10DECAF0C16F}"/>
              </c:ext>
            </c:extLst>
          </c:dPt>
          <c:dPt>
            <c:idx val="3"/>
            <c:invertIfNegative val="0"/>
            <c:bubble3D val="0"/>
            <c:spPr>
              <a:solidFill>
                <a:srgbClr val="007E79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B30-42A8-9D53-10DECAF0C16F}"/>
              </c:ext>
            </c:extLst>
          </c:dPt>
          <c:dPt>
            <c:idx val="4"/>
            <c:invertIfNegative val="0"/>
            <c:bubble3D val="0"/>
            <c:spPr>
              <a:solidFill>
                <a:schemeClr val="bg1">
                  <a:lumMod val="75000"/>
                </a:schemeClr>
              </a:solidFill>
              <a:ln>
                <a:solidFill>
                  <a:srgbClr val="C0000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8B30-42A8-9D53-10DECAF0C16F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10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B30-42A8-9D53-10DECAF0C16F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6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B30-42A8-9D53-10DECAF0C16F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/>
                      <a:t>8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B30-42A8-9D53-10DECAF0C16F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/>
                      <a:t>2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B30-42A8-9D53-10DECAF0C16F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/>
                      <a:t>39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8B30-42A8-9D53-10DECAF0C16F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r>
                      <a:rPr lang="en-US"/>
                      <a:t>23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05A2-45B5-A7E5-E01D09C372DB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r>
                      <a:rPr lang="en-US"/>
                      <a:t>8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05A2-45B5-A7E5-E01D09C372DB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r>
                      <a:rPr lang="en-US"/>
                      <a:t>4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05A2-45B5-A7E5-E01D09C372D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>
                    <a:solidFill>
                      <a:schemeClr val="tx1">
                        <a:lumMod val="65000"/>
                        <a:lumOff val="35000"/>
                      </a:schemeClr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[tabulky_trídění_grafy.xlsx]Sheet1!$C$662:$J$663</c:f>
              <c:strCache>
                <c:ptCount val="8"/>
                <c:pt idx="0">
                  <c:v>Ano, ještě jsem si ho ale nezřídil</c:v>
                </c:pt>
                <c:pt idx="1">
                  <c:v>Ano, ale moje banka ho zatím nenabízí</c:v>
                </c:pt>
                <c:pt idx="2">
                  <c:v>Ano, ale čekám až se zapojí více bank a finančních institucí</c:v>
                </c:pt>
                <c:pt idx="3">
                  <c:v>Ano, již používám</c:v>
                </c:pt>
                <c:pt idx="4">
                  <c:v>Ne, multibanking nepotřebuji, mám jen jeden účet</c:v>
                </c:pt>
                <c:pt idx="5">
                  <c:v>Ne, nevěřím tomu z hlediska bezpečnosti</c:v>
                </c:pt>
                <c:pt idx="6">
                  <c:v>Ne, přijde mi to složité</c:v>
                </c:pt>
                <c:pt idx="7">
                  <c:v>Ne z jiného důvodu, uveďte</c:v>
                </c:pt>
              </c:strCache>
              <c:extLst/>
            </c:strRef>
          </c:cat>
          <c:val>
            <c:numRef>
              <c:f>[tabulky_trídění_grafy.xlsx]Sheet1!$C$664:$J$664</c:f>
              <c:numCache>
                <c:formatCode>###0%</c:formatCode>
                <c:ptCount val="8"/>
                <c:pt idx="0">
                  <c:v>0.10398543321320836</c:v>
                </c:pt>
                <c:pt idx="1">
                  <c:v>6.3362426306074096E-2</c:v>
                </c:pt>
                <c:pt idx="2">
                  <c:v>7.7081723757050732E-2</c:v>
                </c:pt>
                <c:pt idx="3">
                  <c:v>2.0061630482843616E-2</c:v>
                </c:pt>
                <c:pt idx="4">
                  <c:v>0.3877580148115653</c:v>
                </c:pt>
                <c:pt idx="5">
                  <c:v>0.22885698587351086</c:v>
                </c:pt>
                <c:pt idx="6">
                  <c:v>7.8933191943623027E-2</c:v>
                </c:pt>
                <c:pt idx="7">
                  <c:v>3.99605936121301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8B30-42A8-9D53-10DECAF0C16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24414720"/>
        <c:axId val="211602816"/>
      </c:barChart>
      <c:catAx>
        <c:axId val="2244147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11602816"/>
        <c:crosses val="autoZero"/>
        <c:auto val="1"/>
        <c:lblAlgn val="ctr"/>
        <c:lblOffset val="100"/>
        <c:noMultiLvlLbl val="0"/>
      </c:catAx>
      <c:valAx>
        <c:axId val="211602816"/>
        <c:scaling>
          <c:orientation val="minMax"/>
        </c:scaling>
        <c:delete val="1"/>
        <c:axPos val="l"/>
        <c:numFmt formatCode="###0%" sourceLinked="1"/>
        <c:majorTickMark val="none"/>
        <c:minorTickMark val="none"/>
        <c:tickLblPos val="nextTo"/>
        <c:crossAx val="22441472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860067592004554"/>
          <c:y val="0.19545354225622116"/>
          <c:w val="0.60032919757187297"/>
          <c:h val="0.70715852506227794"/>
        </c:manualLayout>
      </c:layout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5">
                  <a:shade val="6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165E-4D92-B576-FBB83E2599F3}"/>
              </c:ext>
            </c:extLst>
          </c:dPt>
          <c:dPt>
            <c:idx val="1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165E-4D92-B576-FBB83E2599F3}"/>
              </c:ext>
            </c:extLst>
          </c:dPt>
          <c:dPt>
            <c:idx val="2"/>
            <c:bubble3D val="0"/>
            <c:spPr>
              <a:solidFill>
                <a:schemeClr val="accent5">
                  <a:tint val="6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165E-4D92-B576-FBB83E2599F3}"/>
              </c:ext>
            </c:extLst>
          </c:dPt>
          <c:dLbls>
            <c:dLbl>
              <c:idx val="0"/>
              <c:layout>
                <c:manualLayout>
                  <c:x val="8.5404792981984747E-3"/>
                  <c:y val="-0.19418834154841294"/>
                </c:manualLayout>
              </c:layout>
              <c:tx>
                <c:rich>
                  <a:bodyPr/>
                  <a:lstStyle/>
                  <a:p>
                    <a:fld id="{D548A5BA-FFE4-449F-A4B1-1EA32C3410C5}" type="CATEGORYNAME">
                      <a:rPr lang="en-US"/>
                      <a:pPr/>
                      <a:t>[NÁZEV KATEGORIE]</a:t>
                    </a:fld>
                    <a:r>
                      <a:rPr lang="en-US" baseline="0" dirty="0"/>
                      <a:t>
</a:t>
                    </a:r>
                    <a:r>
                      <a:rPr lang="en-US" b="1" baseline="0" dirty="0"/>
                      <a:t>3 %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44766087395772847"/>
                      <c:h val="0.16754889437858028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165E-4D92-B576-FBB83E2599F3}"/>
                </c:ext>
              </c:extLst>
            </c:dLbl>
            <c:dLbl>
              <c:idx val="1"/>
              <c:layout>
                <c:manualLayout>
                  <c:x val="0.35250845747982607"/>
                  <c:y val="7.0429772028708726E-3"/>
                </c:manualLayout>
              </c:layout>
              <c:tx>
                <c:rich>
                  <a:bodyPr/>
                  <a:lstStyle/>
                  <a:p>
                    <a:fld id="{E68ED6A2-CB1B-4452-81F1-CA26C3B7AB00}" type="CATEGORYNAME">
                      <a:rPr lang="en-US"/>
                      <a:pPr/>
                      <a:t>[NÁZEV KATEGORIE]</a:t>
                    </a:fld>
                    <a:r>
                      <a:rPr lang="en-US" baseline="0" dirty="0"/>
                      <a:t>
</a:t>
                    </a:r>
                    <a:r>
                      <a:rPr lang="en-US" b="1" baseline="0" dirty="0"/>
                      <a:t>76 %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26376551831160766"/>
                      <c:h val="0.44311760885626961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165E-4D92-B576-FBB83E2599F3}"/>
                </c:ext>
              </c:extLst>
            </c:dLbl>
            <c:dLbl>
              <c:idx val="2"/>
              <c:layout>
                <c:manualLayout>
                  <c:x val="-0.18017383106465323"/>
                  <c:y val="-4.2902807759323369E-2"/>
                </c:manualLayout>
              </c:layout>
              <c:tx>
                <c:rich>
                  <a:bodyPr/>
                  <a:lstStyle/>
                  <a:p>
                    <a:fld id="{AAE89815-FD13-4982-822D-8B366A308D91}" type="CATEGORYNAME">
                      <a:rPr lang="en-US"/>
                      <a:pPr/>
                      <a:t>[NÁZEV KATEGORIE]</a:t>
                    </a:fld>
                    <a:r>
                      <a:rPr lang="en-US" baseline="0" dirty="0"/>
                      <a:t>
</a:t>
                    </a:r>
                    <a:r>
                      <a:rPr lang="en-US" b="1" baseline="0" dirty="0"/>
                      <a:t>21 %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165E-4D92-B576-FBB83E2599F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[tabulky_trídění_grafy.xlsx]Sheet1!$C$683:$E$683</c:f>
              <c:strCache>
                <c:ptCount val="3"/>
                <c:pt idx="0">
                  <c:v>Pouze aplikace fintech startupů a nebankovních firem</c:v>
                </c:pt>
                <c:pt idx="1">
                  <c:v>Pouze prostřednictvím banky (buď mobilní aplikace nebo internetové bankovnictví)</c:v>
                </c:pt>
                <c:pt idx="2">
                  <c:v>Kombinace obojího</c:v>
                </c:pt>
              </c:strCache>
            </c:strRef>
          </c:cat>
          <c:val>
            <c:numRef>
              <c:f>[tabulky_trídění_grafy.xlsx]Sheet1!$C$684:$E$684</c:f>
              <c:numCache>
                <c:formatCode>###0%</c:formatCode>
                <c:ptCount val="3"/>
                <c:pt idx="0">
                  <c:v>2.9971640516479284E-2</c:v>
                </c:pt>
                <c:pt idx="1">
                  <c:v>0.75791980427607442</c:v>
                </c:pt>
                <c:pt idx="2">
                  <c:v>0.21210855520744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165E-4D92-B576-FBB83E2599F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300"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/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5">
                  <a:tint val="58000"/>
                </a:schemeClr>
              </a:solidFill>
              <a:ln>
                <a:noFill/>
              </a:ln>
              <a:effectLst>
                <a:outerShdw blurRad="317500" algn="ctr" rotWithShape="0">
                  <a:prstClr val="black">
                    <a:alpha val="25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B248-4DF5-9690-8CA01E91D1FC}"/>
              </c:ext>
            </c:extLst>
          </c:dPt>
          <c:dPt>
            <c:idx val="1"/>
            <c:bubble3D val="0"/>
            <c:spPr>
              <a:solidFill>
                <a:schemeClr val="accent5">
                  <a:tint val="86000"/>
                </a:schemeClr>
              </a:solidFill>
              <a:ln>
                <a:noFill/>
              </a:ln>
              <a:effectLst>
                <a:outerShdw blurRad="317500" algn="ctr" rotWithShape="0">
                  <a:prstClr val="black">
                    <a:alpha val="25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B248-4DF5-9690-8CA01E91D1FC}"/>
              </c:ext>
            </c:extLst>
          </c:dPt>
          <c:dPt>
            <c:idx val="2"/>
            <c:bubble3D val="0"/>
            <c:spPr>
              <a:solidFill>
                <a:schemeClr val="accent5">
                  <a:shade val="86000"/>
                </a:schemeClr>
              </a:solidFill>
              <a:ln>
                <a:noFill/>
              </a:ln>
              <a:effectLst>
                <a:outerShdw blurRad="317500" algn="ctr" rotWithShape="0">
                  <a:prstClr val="black">
                    <a:alpha val="25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B248-4DF5-9690-8CA01E91D1FC}"/>
              </c:ext>
            </c:extLst>
          </c:dPt>
          <c:dPt>
            <c:idx val="3"/>
            <c:bubble3D val="0"/>
            <c:spPr>
              <a:solidFill>
                <a:schemeClr val="accent5">
                  <a:shade val="58000"/>
                </a:schemeClr>
              </a:solidFill>
              <a:ln>
                <a:noFill/>
              </a:ln>
              <a:effectLst>
                <a:outerShdw blurRad="317500" algn="ctr" rotWithShape="0">
                  <a:prstClr val="black">
                    <a:alpha val="25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B248-4DF5-9690-8CA01E91D1FC}"/>
              </c:ext>
            </c:extLst>
          </c:dPt>
          <c:dLbls>
            <c:dLbl>
              <c:idx val="0"/>
              <c:layout>
                <c:manualLayout>
                  <c:x val="7.6388888888888826E-2"/>
                  <c:y val="-8.0695220360024855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248-4DF5-9690-8CA01E91D1FC}"/>
                </c:ext>
              </c:extLst>
            </c:dLbl>
            <c:dLbl>
              <c:idx val="1"/>
              <c:layout>
                <c:manualLayout>
                  <c:x val="6.5972222222222224E-2"/>
                  <c:y val="3.7243947858473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248-4DF5-9690-8CA01E91D1FC}"/>
                </c:ext>
              </c:extLst>
            </c:dLbl>
            <c:dLbl>
              <c:idx val="2"/>
              <c:layout>
                <c:manualLayout>
                  <c:x val="-6.25E-2"/>
                  <c:y val="1.8621973929236386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B248-4DF5-9690-8CA01E91D1FC}"/>
                </c:ext>
              </c:extLst>
            </c:dLbl>
            <c:dLbl>
              <c:idx val="3"/>
              <c:layout>
                <c:manualLayout>
                  <c:x val="-4.1666666666666664E-2"/>
                  <c:y val="-5.5865921787709528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B248-4DF5-9690-8CA01E91D1F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dk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[tabulky_grafy2018.xlsx]List10!$B$15:$B$18</c:f>
              <c:strCache>
                <c:ptCount val="4"/>
                <c:pt idx="0">
                  <c:v>18-34 let</c:v>
                </c:pt>
                <c:pt idx="1">
                  <c:v>34-49 let</c:v>
                </c:pt>
                <c:pt idx="2">
                  <c:v>50-64 let</c:v>
                </c:pt>
                <c:pt idx="3">
                  <c:v>65 a více let</c:v>
                </c:pt>
              </c:strCache>
            </c:strRef>
          </c:cat>
          <c:val>
            <c:numRef>
              <c:f>[tabulky_grafy2018.xlsx]List10!$C$15:$C$18</c:f>
              <c:numCache>
                <c:formatCode>0%</c:formatCode>
                <c:ptCount val="4"/>
                <c:pt idx="0">
                  <c:v>0.24</c:v>
                </c:pt>
                <c:pt idx="1">
                  <c:v>0.3</c:v>
                </c:pt>
                <c:pt idx="2">
                  <c:v>0.24</c:v>
                </c:pt>
                <c:pt idx="3">
                  <c:v>0.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B248-4DF5-9690-8CA01E91D1FC}"/>
            </c:ext>
          </c:extLst>
        </c:ser>
        <c:dLbls>
          <c:showLegendKey val="0"/>
          <c:showVal val="1"/>
          <c:showCatName val="1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pattFill prst="dkDnDiag">
      <a:fgClr>
        <a:schemeClr val="lt1">
          <a:lumMod val="95000"/>
        </a:schemeClr>
      </a:fgClr>
      <a:bgClr>
        <a:schemeClr val="lt1"/>
      </a:bgClr>
    </a:pattFill>
    <a:ln w="9525" cap="flat" cmpd="sng" algn="ctr">
      <a:solidFill>
        <a:schemeClr val="dk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7504883373192748"/>
          <c:y val="0.10927010682494893"/>
          <c:w val="0.43141231738825492"/>
          <c:h val="0.5810405053245753"/>
        </c:manualLayout>
      </c:layout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5">
                  <a:shade val="58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1F33-4C1A-90A6-BF2FBFE51777}"/>
              </c:ext>
            </c:extLst>
          </c:dPt>
          <c:dPt>
            <c:idx val="1"/>
            <c:bubble3D val="0"/>
            <c:spPr>
              <a:solidFill>
                <a:schemeClr val="accent5">
                  <a:shade val="86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1F33-4C1A-90A6-BF2FBFE51777}"/>
              </c:ext>
            </c:extLst>
          </c:dPt>
          <c:dPt>
            <c:idx val="2"/>
            <c:bubble3D val="0"/>
            <c:spPr>
              <a:solidFill>
                <a:schemeClr val="accent5">
                  <a:tint val="86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1F33-4C1A-90A6-BF2FBFE51777}"/>
              </c:ext>
            </c:extLst>
          </c:dPt>
          <c:dPt>
            <c:idx val="3"/>
            <c:bubble3D val="0"/>
            <c:spPr>
              <a:solidFill>
                <a:schemeClr val="accent5">
                  <a:tint val="58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1F33-4C1A-90A6-BF2FBFE51777}"/>
              </c:ext>
            </c:extLst>
          </c:dPt>
          <c:dLbls>
            <c:dLbl>
              <c:idx val="0"/>
              <c:layout>
                <c:manualLayout>
                  <c:x val="0.19623531562782873"/>
                  <c:y val="-0.10079410694632902"/>
                </c:manualLayout>
              </c:layout>
              <c:tx>
                <c:rich>
                  <a:bodyPr/>
                  <a:lstStyle/>
                  <a:p>
                    <a:fld id="{44332A43-4EEF-4C00-AA8A-CA6B07807B94}" type="CATEGORYNAME">
                      <a:rPr lang="en-US"/>
                      <a:pPr/>
                      <a:t>[NÁZEV KATEGORIE]</a:t>
                    </a:fld>
                    <a:r>
                      <a:rPr lang="en-US" baseline="0" dirty="0"/>
                      <a:t>
</a:t>
                    </a:r>
                    <a:r>
                      <a:rPr lang="en-US" b="1" baseline="0" dirty="0"/>
                      <a:t>4 %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2651770567113001"/>
                      <c:h val="0.1524383915747391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1F33-4C1A-90A6-BF2FBFE51777}"/>
                </c:ext>
              </c:extLst>
            </c:dLbl>
            <c:dLbl>
              <c:idx val="1"/>
              <c:layout>
                <c:manualLayout>
                  <c:x val="0.1446499329599337"/>
                  <c:y val="-9.9514412458249716E-3"/>
                </c:manualLayout>
              </c:layout>
              <c:tx>
                <c:rich>
                  <a:bodyPr/>
                  <a:lstStyle/>
                  <a:p>
                    <a:fld id="{AFD70AF9-EFD3-42D6-90D7-536DAC6D485E}" type="CATEGORYNAME">
                      <a:rPr lang="en-US"/>
                      <a:pPr/>
                      <a:t>[NÁZEV KATEGORIE]</a:t>
                    </a:fld>
                    <a:r>
                      <a:rPr lang="en-US" baseline="0" dirty="0"/>
                      <a:t>
</a:t>
                    </a:r>
                    <a:r>
                      <a:rPr lang="en-US" b="1" baseline="0" dirty="0"/>
                      <a:t>29 %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1F33-4C1A-90A6-BF2FBFE51777}"/>
                </c:ext>
              </c:extLst>
            </c:dLbl>
            <c:dLbl>
              <c:idx val="2"/>
              <c:layout>
                <c:manualLayout>
                  <c:x val="-8.3667076633489653E-3"/>
                  <c:y val="0.23696323855553972"/>
                </c:manualLayout>
              </c:layout>
              <c:tx>
                <c:rich>
                  <a:bodyPr/>
                  <a:lstStyle/>
                  <a:p>
                    <a:fld id="{074B5D67-4EA5-4BBE-AD7C-718EF82AC44F}" type="CATEGORYNAME">
                      <a:rPr lang="en-US"/>
                      <a:pPr/>
                      <a:t>[NÁZEV KATEGORIE]</a:t>
                    </a:fld>
                    <a:r>
                      <a:rPr lang="en-US" baseline="0" dirty="0"/>
                      <a:t>
</a:t>
                    </a:r>
                    <a:r>
                      <a:rPr lang="en-US" b="1" baseline="0" dirty="0"/>
                      <a:t>63 %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30332232983712554"/>
                      <c:h val="0.2879255306069967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1F33-4C1A-90A6-BF2FBFE51777}"/>
                </c:ext>
              </c:extLst>
            </c:dLbl>
            <c:dLbl>
              <c:idx val="3"/>
              <c:layout>
                <c:manualLayout>
                  <c:x val="-2.6067570591890851E-2"/>
                  <c:y val="-0.14205752603500421"/>
                </c:manualLayout>
              </c:layout>
              <c:tx>
                <c:rich>
                  <a:bodyPr/>
                  <a:lstStyle/>
                  <a:p>
                    <a:fld id="{6AB2832E-41FD-460A-9181-621ED8DDFE27}" type="CATEGORYNAME">
                      <a:rPr lang="en-US"/>
                      <a:pPr/>
                      <a:t>[NÁZEV KATEGORIE]</a:t>
                    </a:fld>
                    <a:r>
                      <a:rPr lang="en-US" baseline="0" dirty="0"/>
                      <a:t>
</a:t>
                    </a:r>
                    <a:r>
                      <a:rPr lang="en-US" b="1" baseline="0" dirty="0"/>
                      <a:t>4 %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1F33-4C1A-90A6-BF2FBFE5177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eparator> </c:separator>
            <c:showLeaderLines val="1"/>
            <c:leaderLines>
              <c:spPr>
                <a:ln w="9525" cap="flat" cmpd="sng" algn="ctr">
                  <a:solidFill>
                    <a:schemeClr val="tx1"/>
                  </a:solidFill>
                  <a:prstDash val="solid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[tabulky_trídění_grafy.xlsx]Sheet1!$C$703:$F$703</c:f>
              <c:strCache>
                <c:ptCount val="4"/>
                <c:pt idx="0">
                  <c:v>Nechci se učit ovládat další aplikaci / je to moc složité</c:v>
                </c:pt>
                <c:pt idx="1">
                  <c:v>Nevěřím ji z hlediska bezpečnosti</c:v>
                </c:pt>
                <c:pt idx="2">
                  <c:v>Nechci, aby mé informace o bankovním účtu a transakcích sdílel někdo jiný kromě banky</c:v>
                </c:pt>
                <c:pt idx="3">
                  <c:v>Jiné</c:v>
                </c:pt>
              </c:strCache>
            </c:strRef>
          </c:cat>
          <c:val>
            <c:numRef>
              <c:f>[tabulky_trídění_grafy.xlsx]Sheet1!$C$704:$F$704</c:f>
              <c:numCache>
                <c:formatCode>###0%</c:formatCode>
                <c:ptCount val="4"/>
                <c:pt idx="0">
                  <c:v>4.3073175350840431E-2</c:v>
                </c:pt>
                <c:pt idx="1">
                  <c:v>0.29142468662645227</c:v>
                </c:pt>
                <c:pt idx="2">
                  <c:v>0.62644542234062084</c:v>
                </c:pt>
                <c:pt idx="3">
                  <c:v>3.905671568208676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1F33-4C1A-90A6-BF2FBFE517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/>
  </c:chart>
  <c:spPr>
    <a:noFill/>
    <a:ln w="9525" cap="flat" cmpd="sng" algn="ctr">
      <a:noFill/>
      <a:prstDash val="solid"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421519493209071"/>
          <c:y val="6.067675017287022E-2"/>
          <c:w val="0.58333333333333337"/>
          <c:h val="0.97222222222222221"/>
        </c:manualLayout>
      </c:layout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5">
                  <a:shade val="58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25C7-4B2B-AF08-F38487A7A7E2}"/>
              </c:ext>
            </c:extLst>
          </c:dPt>
          <c:dPt>
            <c:idx val="1"/>
            <c:bubble3D val="0"/>
            <c:spPr>
              <a:solidFill>
                <a:schemeClr val="accent5">
                  <a:shade val="86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25C7-4B2B-AF08-F38487A7A7E2}"/>
              </c:ext>
            </c:extLst>
          </c:dPt>
          <c:dPt>
            <c:idx val="2"/>
            <c:bubble3D val="0"/>
            <c:spPr>
              <a:solidFill>
                <a:schemeClr val="accent5">
                  <a:tint val="86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25C7-4B2B-AF08-F38487A7A7E2}"/>
              </c:ext>
            </c:extLst>
          </c:dPt>
          <c:dPt>
            <c:idx val="3"/>
            <c:bubble3D val="0"/>
            <c:spPr>
              <a:solidFill>
                <a:schemeClr val="accent5">
                  <a:tint val="58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25C7-4B2B-AF08-F38487A7A7E2}"/>
              </c:ext>
            </c:extLst>
          </c:dPt>
          <c:dLbls>
            <c:dLbl>
              <c:idx val="0"/>
              <c:layout>
                <c:manualLayout>
                  <c:x val="0.12338329294681936"/>
                  <c:y val="-0.12465182025081926"/>
                </c:manualLayout>
              </c:layout>
              <c:tx>
                <c:rich>
                  <a:bodyPr/>
                  <a:lstStyle/>
                  <a:p>
                    <a:fld id="{BB391B86-6D07-44A5-A97A-3DAB3A8D5EE1}" type="CATEGORYNAME">
                      <a:rPr lang="en-US"/>
                      <a:pPr/>
                      <a:t>[NÁZEV KATEGORIE]</a:t>
                    </a:fld>
                    <a:r>
                      <a:rPr lang="en-US" baseline="0" dirty="0"/>
                      <a:t>
</a:t>
                    </a:r>
                    <a:r>
                      <a:rPr lang="en-US" b="1" baseline="0" dirty="0"/>
                      <a:t>15 %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25C7-4B2B-AF08-F38487A7A7E2}"/>
                </c:ext>
              </c:extLst>
            </c:dLbl>
            <c:dLbl>
              <c:idx val="1"/>
              <c:layout>
                <c:manualLayout>
                  <c:x val="0.10348839116920157"/>
                  <c:y val="0.15021552332071134"/>
                </c:manualLayout>
              </c:layout>
              <c:tx>
                <c:rich>
                  <a:bodyPr/>
                  <a:lstStyle/>
                  <a:p>
                    <a:fld id="{C9BA43D0-8A26-4B33-8BB2-33BA2FA17839}" type="CATEGORYNAME">
                      <a:rPr lang="en-US"/>
                      <a:pPr/>
                      <a:t>[NÁZEV KATEGORIE]</a:t>
                    </a:fld>
                    <a:r>
                      <a:rPr lang="en-US" baseline="0" dirty="0"/>
                      <a:t>
</a:t>
                    </a:r>
                    <a:r>
                      <a:rPr lang="en-US" b="1" baseline="0" dirty="0"/>
                      <a:t>47 %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25C7-4B2B-AF08-F38487A7A7E2}"/>
                </c:ext>
              </c:extLst>
            </c:dLbl>
            <c:dLbl>
              <c:idx val="2"/>
              <c:layout>
                <c:manualLayout>
                  <c:x val="-0.14881746807599677"/>
                  <c:y val="-1.38510728704787E-2"/>
                </c:manualLayout>
              </c:layout>
              <c:tx>
                <c:rich>
                  <a:bodyPr/>
                  <a:lstStyle/>
                  <a:p>
                    <a:fld id="{CD497963-2B6F-449B-B69E-ECC81BAEC778}" type="CATEGORYNAME">
                      <a:rPr lang="en-US"/>
                      <a:pPr/>
                      <a:t>[NÁZEV KATEGORIE]</a:t>
                    </a:fld>
                    <a:r>
                      <a:rPr lang="en-US" baseline="0" dirty="0"/>
                      <a:t>
</a:t>
                    </a:r>
                    <a:r>
                      <a:rPr lang="en-US" b="1" baseline="0" dirty="0"/>
                      <a:t>30 %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25C7-4B2B-AF08-F38487A7A7E2}"/>
                </c:ext>
              </c:extLst>
            </c:dLbl>
            <c:dLbl>
              <c:idx val="3"/>
              <c:layout>
                <c:manualLayout>
                  <c:x val="-6.8746821431776739E-2"/>
                  <c:y val="-0.13817670897434003"/>
                </c:manualLayout>
              </c:layout>
              <c:tx>
                <c:rich>
                  <a:bodyPr/>
                  <a:lstStyle/>
                  <a:p>
                    <a:fld id="{BF0C7F20-87E3-487E-9CB5-C5AF433F8028}" type="CATEGORYNAME">
                      <a:rPr lang="en-US"/>
                      <a:pPr/>
                      <a:t>[NÁZEV KATEGORIE]</a:t>
                    </a:fld>
                    <a:r>
                      <a:rPr lang="en-US" baseline="0" dirty="0"/>
                      <a:t>
</a:t>
                    </a:r>
                    <a:r>
                      <a:rPr lang="en-US" b="1" baseline="0" dirty="0"/>
                      <a:t>8 %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25C7-4B2B-AF08-F38487A7A7E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[tabulky_trídění_grafy.xlsx]Sheet1!$C$723:$F$723</c:f>
              <c:strCache>
                <c:ptCount val="4"/>
                <c:pt idx="0">
                  <c:v>Určitě ano</c:v>
                </c:pt>
                <c:pt idx="1">
                  <c:v>Spíše ano</c:v>
                </c:pt>
                <c:pt idx="2">
                  <c:v>Spíše ne</c:v>
                </c:pt>
                <c:pt idx="3">
                  <c:v>Určitě ne</c:v>
                </c:pt>
              </c:strCache>
            </c:strRef>
          </c:cat>
          <c:val>
            <c:numRef>
              <c:f>[tabulky_trídění_grafy.xlsx]Sheet1!$C$724:$F$724</c:f>
              <c:numCache>
                <c:formatCode>###0%</c:formatCode>
                <c:ptCount val="4"/>
                <c:pt idx="0">
                  <c:v>0.14783739892300235</c:v>
                </c:pt>
                <c:pt idx="1">
                  <c:v>0.47123287313754525</c:v>
                </c:pt>
                <c:pt idx="2">
                  <c:v>0.3006060180026382</c:v>
                </c:pt>
                <c:pt idx="3">
                  <c:v>8.032370993682076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25C7-4B2B-AF08-F38487A7A7E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/>
  </c:chart>
  <c:spPr>
    <a:noFill/>
    <a:ln w="9525" cap="flat" cmpd="sng" algn="ctr">
      <a:noFill/>
      <a:prstDash val="solid"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pPr>
            <a:r>
              <a:rPr lang="cs-CZ" sz="12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Multibanking</a:t>
            </a:r>
            <a:r>
              <a:rPr lang="cs-CZ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je přínosný</a:t>
            </a:r>
          </a:p>
        </c:rich>
      </c:tx>
      <c:overlay val="0"/>
    </c:title>
    <c:autoTitleDeleted val="0"/>
    <c:plotArea>
      <c:layout>
        <c:manualLayout>
          <c:layoutTarget val="inner"/>
          <c:xMode val="edge"/>
          <c:yMode val="edge"/>
          <c:x val="0"/>
          <c:y val="0.34156350153419163"/>
          <c:w val="1"/>
          <c:h val="0.45872977057549252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18A79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[tabulky_trídění_grafy.xlsx]Sheet1!$B$727:$B$730</c:f>
              <c:strCache>
                <c:ptCount val="4"/>
                <c:pt idx="0">
                  <c:v>18-34</c:v>
                </c:pt>
                <c:pt idx="1">
                  <c:v>35-49</c:v>
                </c:pt>
                <c:pt idx="2">
                  <c:v>50-64</c:v>
                </c:pt>
                <c:pt idx="3">
                  <c:v>65 a více let</c:v>
                </c:pt>
              </c:strCache>
            </c:strRef>
          </c:cat>
          <c:val>
            <c:numRef>
              <c:f>[tabulky_trídění_grafy.xlsx]Sheet1!$G$727:$G$730</c:f>
              <c:numCache>
                <c:formatCode>###0%</c:formatCode>
                <c:ptCount val="4"/>
                <c:pt idx="0">
                  <c:v>0.67298846778091637</c:v>
                </c:pt>
                <c:pt idx="1">
                  <c:v>0.63012691081893335</c:v>
                </c:pt>
                <c:pt idx="2">
                  <c:v>0.58514012434905882</c:v>
                </c:pt>
                <c:pt idx="3">
                  <c:v>0.581503379701066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21D-4C63-8A82-8987957A85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00762624"/>
        <c:axId val="211572352"/>
      </c:barChart>
      <c:catAx>
        <c:axId val="3007626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11572352"/>
        <c:crosses val="autoZero"/>
        <c:auto val="1"/>
        <c:lblAlgn val="ctr"/>
        <c:lblOffset val="100"/>
        <c:noMultiLvlLbl val="0"/>
      </c:catAx>
      <c:valAx>
        <c:axId val="211572352"/>
        <c:scaling>
          <c:orientation val="minMax"/>
        </c:scaling>
        <c:delete val="1"/>
        <c:axPos val="l"/>
        <c:numFmt formatCode="###0%" sourceLinked="1"/>
        <c:majorTickMark val="none"/>
        <c:minorTickMark val="none"/>
        <c:tickLblPos val="nextTo"/>
        <c:crossAx val="300762624"/>
        <c:crosses val="autoZero"/>
        <c:crossBetween val="between"/>
      </c:valAx>
    </c:plotArea>
    <c:plotVisOnly val="1"/>
    <c:dispBlanksAs val="gap"/>
    <c:showDLblsOverMax val="0"/>
  </c:chart>
  <c:spPr>
    <a:solidFill>
      <a:schemeClr val="bg1">
        <a:lumMod val="95000"/>
      </a:schemeClr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8115784831059716"/>
          <c:y val="3.2809091921988533E-2"/>
          <c:w val="0.51856477155471681"/>
          <c:h val="0.96609480776939749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'tabulky grafy'!$R$167</c:f>
              <c:strCache>
                <c:ptCount val="1"/>
                <c:pt idx="0">
                  <c:v>mobilní aplikace</c:v>
                </c:pt>
              </c:strCache>
            </c:strRef>
          </c:tx>
          <c:spPr>
            <a:solidFill>
              <a:srgbClr val="007E79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9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2E28-4BD0-9175-CD13C9FD26BD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10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2E28-4BD0-9175-CD13C9FD26BD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/>
                      <a:t>15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2E28-4BD0-9175-CD13C9FD26BD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/>
                      <a:t>13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2E28-4BD0-9175-CD13C9FD26BD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/>
                      <a:t>21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2E28-4BD0-9175-CD13C9FD26BD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r>
                      <a:rPr lang="en-US"/>
                      <a:t>32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2E28-4BD0-9175-CD13C9FD26BD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r>
                      <a:rPr lang="en-US"/>
                      <a:t>30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2E28-4BD0-9175-CD13C9FD26BD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r>
                      <a:rPr lang="en-US"/>
                      <a:t>37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2E28-4BD0-9175-CD13C9FD26BD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r>
                      <a:rPr lang="en-US"/>
                      <a:t>40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2E28-4BD0-9175-CD13C9FD26B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rgbClr val="007E79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tabulky grafy'!$Q$168:$Q$176</c:f>
              <c:strCache>
                <c:ptCount val="9"/>
                <c:pt idx="0">
                  <c:v>Zažádat si o hypotéku</c:v>
                </c:pt>
                <c:pt idx="1">
                  <c:v>Vzít si kontokorent</c:v>
                </c:pt>
                <c:pt idx="2">
                  <c:v>Investovat do akcií nebo podílových fondů</c:v>
                </c:pt>
                <c:pt idx="3">
                  <c:v>Možnost vzít si půjčku</c:v>
                </c:pt>
                <c:pt idx="4">
                  <c:v>Čerpat služby soukromých firem, resp poskytovatelů služeb (plyn, elektřina)</c:v>
                </c:pt>
                <c:pt idx="5">
                  <c:v>Nakupovat v e-shopech (jednoduchá platba bez nutnosti použít kartu)</c:v>
                </c:pt>
                <c:pt idx="6">
                  <c:v>Nakupovat zboží se slevou (sleva díky využití elektronického bankovnictví)</c:v>
                </c:pt>
                <c:pt idx="7">
                  <c:v>Ovládat z jednoho e-bankovnictví všechny své účty (multibanking)</c:v>
                </c:pt>
                <c:pt idx="8">
                  <c:v>Čerpat služby státu (výpis z katastru, výpis z rejstříku trestů…)</c:v>
                </c:pt>
              </c:strCache>
            </c:strRef>
          </c:cat>
          <c:val>
            <c:numRef>
              <c:f>'tabulky grafy'!$R$168:$R$176</c:f>
              <c:numCache>
                <c:formatCode>###0%</c:formatCode>
                <c:ptCount val="9"/>
                <c:pt idx="0">
                  <c:v>8.7605896635733843E-2</c:v>
                </c:pt>
                <c:pt idx="1">
                  <c:v>9.5975700923646656E-2</c:v>
                </c:pt>
                <c:pt idx="2">
                  <c:v>0.14631317437883704</c:v>
                </c:pt>
                <c:pt idx="3">
                  <c:v>0.13092888657189108</c:v>
                </c:pt>
                <c:pt idx="4">
                  <c:v>0.2083005269928947</c:v>
                </c:pt>
                <c:pt idx="5">
                  <c:v>0.32008664146191035</c:v>
                </c:pt>
                <c:pt idx="6">
                  <c:v>0.30453713720692027</c:v>
                </c:pt>
                <c:pt idx="7">
                  <c:v>0.36691823201325213</c:v>
                </c:pt>
                <c:pt idx="8">
                  <c:v>0.399282210162437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162-43C1-B7E0-B78B14598B92}"/>
            </c:ext>
          </c:extLst>
        </c:ser>
        <c:ser>
          <c:idx val="1"/>
          <c:order val="1"/>
          <c:tx>
            <c:strRef>
              <c:f>'tabulky grafy'!$S$167</c:f>
              <c:strCache>
                <c:ptCount val="1"/>
                <c:pt idx="0">
                  <c:v>webový prohlížeč</c:v>
                </c:pt>
              </c:strCache>
            </c:strRef>
          </c:tx>
          <c:spPr>
            <a:solidFill>
              <a:schemeClr val="accent5">
                <a:tint val="77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14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2E28-4BD0-9175-CD13C9FD26BD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14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2E28-4BD0-9175-CD13C9FD26BD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/>
                      <a:t>20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2E28-4BD0-9175-CD13C9FD26BD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/>
                      <a:t>20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2E28-4BD0-9175-CD13C9FD26BD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/>
                      <a:t>28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2E28-4BD0-9175-CD13C9FD26BD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r>
                      <a:rPr lang="en-US"/>
                      <a:t>39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2E28-4BD0-9175-CD13C9FD26BD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r>
                      <a:rPr lang="en-US"/>
                      <a:t>39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2E28-4BD0-9175-CD13C9FD26BD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r>
                      <a:rPr lang="en-US"/>
                      <a:t>44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2E28-4BD0-9175-CD13C9FD26BD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r>
                      <a:rPr lang="en-US"/>
                      <a:t>58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2E28-4BD0-9175-CD13C9FD26B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tabulky grafy'!$Q$168:$Q$176</c:f>
              <c:strCache>
                <c:ptCount val="9"/>
                <c:pt idx="0">
                  <c:v>Zažádat si o hypotéku</c:v>
                </c:pt>
                <c:pt idx="1">
                  <c:v>Vzít si kontokorent</c:v>
                </c:pt>
                <c:pt idx="2">
                  <c:v>Investovat do akcií nebo podílových fondů</c:v>
                </c:pt>
                <c:pt idx="3">
                  <c:v>Možnost vzít si půjčku</c:v>
                </c:pt>
                <c:pt idx="4">
                  <c:v>Čerpat služby soukromých firem, resp poskytovatelů služeb (plyn, elektřina)</c:v>
                </c:pt>
                <c:pt idx="5">
                  <c:v>Nakupovat v e-shopech (jednoduchá platba bez nutnosti použít kartu)</c:v>
                </c:pt>
                <c:pt idx="6">
                  <c:v>Nakupovat zboží se slevou (sleva díky využití elektronického bankovnictví)</c:v>
                </c:pt>
                <c:pt idx="7">
                  <c:v>Ovládat z jednoho e-bankovnictví všechny své účty (multibanking)</c:v>
                </c:pt>
                <c:pt idx="8">
                  <c:v>Čerpat služby státu (výpis z katastru, výpis z rejstříku trestů…)</c:v>
                </c:pt>
              </c:strCache>
            </c:strRef>
          </c:cat>
          <c:val>
            <c:numRef>
              <c:f>'tabulky grafy'!$S$168:$S$176</c:f>
              <c:numCache>
                <c:formatCode>###0%</c:formatCode>
                <c:ptCount val="9"/>
                <c:pt idx="0">
                  <c:v>0.13759139425260603</c:v>
                </c:pt>
                <c:pt idx="1">
                  <c:v>0.14083381022207542</c:v>
                </c:pt>
                <c:pt idx="2">
                  <c:v>0.20182913058918137</c:v>
                </c:pt>
                <c:pt idx="3">
                  <c:v>0.20284663478698073</c:v>
                </c:pt>
                <c:pt idx="4">
                  <c:v>0.2774758662317689</c:v>
                </c:pt>
                <c:pt idx="5">
                  <c:v>0.38518224318140171</c:v>
                </c:pt>
                <c:pt idx="6">
                  <c:v>0.38543478201952569</c:v>
                </c:pt>
                <c:pt idx="7">
                  <c:v>0.44094075770693986</c:v>
                </c:pt>
                <c:pt idx="8">
                  <c:v>0.581547380327960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162-43C1-B7E0-B78B14598B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643643504"/>
        <c:axId val="637527216"/>
      </c:barChart>
      <c:catAx>
        <c:axId val="64364350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637527216"/>
        <c:crosses val="autoZero"/>
        <c:auto val="1"/>
        <c:lblAlgn val="ctr"/>
        <c:lblOffset val="100"/>
        <c:noMultiLvlLbl val="0"/>
      </c:catAx>
      <c:valAx>
        <c:axId val="637527216"/>
        <c:scaling>
          <c:orientation val="minMax"/>
        </c:scaling>
        <c:delete val="1"/>
        <c:axPos val="b"/>
        <c:numFmt formatCode="###0%" sourceLinked="1"/>
        <c:majorTickMark val="none"/>
        <c:minorTickMark val="none"/>
        <c:tickLblPos val="nextTo"/>
        <c:crossAx val="6436435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7523174352180062"/>
          <c:y val="0.7366813449360905"/>
          <c:w val="0.23838262526627313"/>
          <c:h val="0.123693853095272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>
              <a:lumMod val="65000"/>
              <a:lumOff val="35000"/>
            </a:schemeClr>
          </a:solidFill>
        </a:defRPr>
      </a:pPr>
      <a:endParaRPr lang="cs-CZ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>
        <c:manualLayout>
          <c:layoutTarget val="inner"/>
          <c:xMode val="edge"/>
          <c:yMode val="edge"/>
          <c:x val="0.25433505594557609"/>
          <c:y val="0.15751233971147083"/>
          <c:w val="0.40819514113701139"/>
          <c:h val="0.73516508293936644"/>
        </c:manualLayout>
      </c:layout>
      <c:doughnutChart>
        <c:varyColors val="1"/>
        <c:ser>
          <c:idx val="0"/>
          <c:order val="0"/>
          <c:tx>
            <c:strRef>
              <c:f>List1!$B$43</c:f>
              <c:strCache>
                <c:ptCount val="1"/>
              </c:strCache>
            </c:strRef>
          </c:tx>
          <c:dPt>
            <c:idx val="0"/>
            <c:bubble3D val="0"/>
            <c:spPr>
              <a:solidFill>
                <a:srgbClr val="007E79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0A5A-4267-9BF7-348446AADE41}"/>
              </c:ext>
            </c:extLst>
          </c:dPt>
          <c:dPt>
            <c:idx val="1"/>
            <c:bubble3D val="0"/>
            <c:spPr>
              <a:solidFill>
                <a:schemeClr val="bg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0A5A-4267-9BF7-348446AADE41}"/>
              </c:ext>
            </c:extLst>
          </c:dPt>
          <c:dLbls>
            <c:dLbl>
              <c:idx val="0"/>
              <c:layout>
                <c:manualLayout>
                  <c:x val="-1.7319767364158427E-3"/>
                  <c:y val="-0.14348844429249047"/>
                </c:manualLayout>
              </c:layout>
              <c:tx>
                <c:rich>
                  <a:bodyPr/>
                  <a:lstStyle/>
                  <a:p>
                    <a:fld id="{56509D11-35A5-4B7B-9D04-3C79BC190301}" type="CATEGORYNAME">
                      <a:rPr lang="en-US"/>
                      <a:pPr/>
                      <a:t>[NÁZEV KATEGORIE]</a:t>
                    </a:fld>
                    <a:r>
                      <a:rPr lang="en-US" baseline="0" dirty="0"/>
                      <a:t>
</a:t>
                    </a:r>
                    <a:r>
                      <a:rPr lang="en-US" b="1" baseline="0" dirty="0"/>
                      <a:t>9 %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0A5A-4267-9BF7-348446AADE41}"/>
                </c:ext>
              </c:extLst>
            </c:dLbl>
            <c:dLbl>
              <c:idx val="1"/>
              <c:layout>
                <c:manualLayout>
                  <c:x val="-9.525872050286785E-2"/>
                  <c:y val="9.3579420190754645E-2"/>
                </c:manualLayout>
              </c:layout>
              <c:tx>
                <c:rich>
                  <a:bodyPr/>
                  <a:lstStyle/>
                  <a:p>
                    <a:fld id="{574FFCEE-D044-4DE3-9E7A-36E72FFF9E49}" type="CATEGORYNAME">
                      <a:rPr lang="en-US"/>
                      <a:pPr/>
                      <a:t>[NÁZEV KATEGORIE]</a:t>
                    </a:fld>
                    <a:r>
                      <a:rPr lang="en-US" baseline="0" dirty="0"/>
                      <a:t>
</a:t>
                    </a:r>
                    <a:r>
                      <a:rPr lang="en-US" b="1" baseline="0" dirty="0"/>
                      <a:t>91 %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0A5A-4267-9BF7-348446AADE4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List1!$C$42:$D$42</c:f>
              <c:strCache>
                <c:ptCount val="2"/>
                <c:pt idx="0">
                  <c:v>využívá</c:v>
                </c:pt>
                <c:pt idx="1">
                  <c:v>nevyužívá</c:v>
                </c:pt>
              </c:strCache>
            </c:strRef>
          </c:cat>
          <c:val>
            <c:numRef>
              <c:f>List1!$C$43:$D$43</c:f>
              <c:numCache>
                <c:formatCode>0%</c:formatCode>
                <c:ptCount val="2"/>
                <c:pt idx="0">
                  <c:v>8.7610609499849432E-2</c:v>
                </c:pt>
                <c:pt idx="1">
                  <c:v>0.912389390500151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A5A-4267-9BF7-348446AADE4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rgbClr val="007E79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46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CCB-4DB4-83C7-6CD575C28675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35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FCCB-4DB4-83C7-6CD575C28675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/>
                      <a:t>3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FCCB-4DB4-83C7-6CD575C28675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/>
                      <a:t>13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FCCB-4DB4-83C7-6CD575C28675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/>
                      <a:t>3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FCCB-4DB4-83C7-6CD575C2867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82:$G$82</c:f>
              <c:strCache>
                <c:ptCount val="5"/>
                <c:pt idx="0">
                  <c:v>Nevím o ni.</c:v>
                </c:pt>
                <c:pt idx="1">
                  <c:v>Nemám datovou schránku nebo e-občanku.</c:v>
                </c:pt>
                <c:pt idx="2">
                  <c:v>Je složitá / Nechápu to.</c:v>
                </c:pt>
                <c:pt idx="3">
                  <c:v>Vyřizuju vše osobně na úřadu.</c:v>
                </c:pt>
                <c:pt idx="4">
                  <c:v>Jiné důvody</c:v>
                </c:pt>
              </c:strCache>
              <c:extLst/>
            </c:strRef>
          </c:cat>
          <c:val>
            <c:numRef>
              <c:f>List1!$B$83:$G$83</c:f>
              <c:numCache>
                <c:formatCode>0%</c:formatCode>
                <c:ptCount val="5"/>
                <c:pt idx="0">
                  <c:v>0.46043143422727051</c:v>
                </c:pt>
                <c:pt idx="1">
                  <c:v>0.34916860124580423</c:v>
                </c:pt>
                <c:pt idx="2">
                  <c:v>3.0559904201348274E-2</c:v>
                </c:pt>
                <c:pt idx="3">
                  <c:v>0.13222286975768133</c:v>
                </c:pt>
                <c:pt idx="4">
                  <c:v>2.7617190567901208E-2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0-0717-441C-A31F-B49F642B08C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32322272"/>
        <c:axId val="432320960"/>
      </c:barChart>
      <c:catAx>
        <c:axId val="4323222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32320960"/>
        <c:crosses val="autoZero"/>
        <c:auto val="1"/>
        <c:lblAlgn val="ctr"/>
        <c:lblOffset val="100"/>
        <c:noMultiLvlLbl val="0"/>
      </c:catAx>
      <c:valAx>
        <c:axId val="432320960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4323222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711-4259-9670-1B48D38D59CC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55 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8365-4D8D-B2E9-0ED716158801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31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365-4D8D-B2E9-0ED716158801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/>
                      <a:t>40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8365-4D8D-B2E9-0ED716158801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/>
                      <a:t>22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711-4259-9670-1B48D38D59C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102:$F$102</c:f>
              <c:strCache>
                <c:ptCount val="4"/>
                <c:pt idx="0">
                  <c:v>Ano, pokud to bude bezpečné (co se peněz i osobních údajů týče)</c:v>
                </c:pt>
                <c:pt idx="1">
                  <c:v>Ano, pokud to bude bezplatné</c:v>
                </c:pt>
                <c:pt idx="2">
                  <c:v>Ano, pokud to bude uživatelsky přívětivé a jednoduché</c:v>
                </c:pt>
                <c:pt idx="3">
                  <c:v>Určitě ne</c:v>
                </c:pt>
              </c:strCache>
              <c:extLst/>
            </c:strRef>
          </c:cat>
          <c:val>
            <c:numRef>
              <c:f>List1!$B$103:$F$103</c:f>
              <c:numCache>
                <c:formatCode>0%</c:formatCode>
                <c:ptCount val="4"/>
                <c:pt idx="0">
                  <c:v>0.54763092586416329</c:v>
                </c:pt>
                <c:pt idx="1">
                  <c:v>0.313214072533819</c:v>
                </c:pt>
                <c:pt idx="2">
                  <c:v>0.39868615109198552</c:v>
                </c:pt>
                <c:pt idx="3">
                  <c:v>0.21748575159069644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0-D711-4259-9670-1B48D38D59C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89955048"/>
        <c:axId val="489953408"/>
      </c:barChart>
      <c:catAx>
        <c:axId val="4899550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9953408"/>
        <c:crosses val="autoZero"/>
        <c:auto val="1"/>
        <c:lblAlgn val="ctr"/>
        <c:lblOffset val="100"/>
        <c:noMultiLvlLbl val="0"/>
      </c:catAx>
      <c:valAx>
        <c:axId val="489953408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4899550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chemeClr val="bg1">
                <a:lumMod val="6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C$122:$G$122</c:f>
              <c:strCache>
                <c:ptCount val="5"/>
                <c:pt idx="0">
                  <c:v>Bojím se o bezpečnost svých peněz</c:v>
                </c:pt>
                <c:pt idx="1">
                  <c:v>Bojím se o bezpečnost svých údajů</c:v>
                </c:pt>
                <c:pt idx="2">
                  <c:v>Raději si vše vyřizuji osobně na úřadech</c:v>
                </c:pt>
                <c:pt idx="3">
                  <c:v>Mám e-občanku / datovou schránku, nepotřebuju nic dalšího</c:v>
                </c:pt>
                <c:pt idx="4">
                  <c:v>Jiné důvody</c:v>
                </c:pt>
              </c:strCache>
            </c:strRef>
          </c:cat>
          <c:val>
            <c:numRef>
              <c:f>List1!$C$123:$G$123</c:f>
              <c:numCache>
                <c:formatCode>0%</c:formatCode>
                <c:ptCount val="5"/>
                <c:pt idx="0">
                  <c:v>0.45837193287516292</c:v>
                </c:pt>
                <c:pt idx="1">
                  <c:v>0.43928137307535076</c:v>
                </c:pt>
                <c:pt idx="2">
                  <c:v>0.41343028710996355</c:v>
                </c:pt>
                <c:pt idx="3">
                  <c:v>8.1368425193824284E-2</c:v>
                </c:pt>
                <c:pt idx="4">
                  <c:v>6.949159133062220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744-4080-ABBE-2622433A5CA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526703696"/>
        <c:axId val="526704352"/>
      </c:barChart>
      <c:catAx>
        <c:axId val="52670369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6704352"/>
        <c:crosses val="autoZero"/>
        <c:auto val="1"/>
        <c:lblAlgn val="ctr"/>
        <c:lblOffset val="100"/>
        <c:noMultiLvlLbl val="0"/>
      </c:catAx>
      <c:valAx>
        <c:axId val="526704352"/>
        <c:scaling>
          <c:orientation val="minMax"/>
        </c:scaling>
        <c:delete val="1"/>
        <c:axPos val="t"/>
        <c:numFmt formatCode="0%" sourceLinked="1"/>
        <c:majorTickMark val="none"/>
        <c:minorTickMark val="none"/>
        <c:tickLblPos val="nextTo"/>
        <c:crossAx val="5267036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9688049636256669"/>
          <c:y val="7.815924572551694E-2"/>
          <c:w val="0.44866487141789574"/>
          <c:h val="0.82802191603129205"/>
        </c:manualLayout>
      </c:layout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5">
                  <a:tint val="65000"/>
                </a:schemeClr>
              </a:solidFill>
              <a:ln>
                <a:noFill/>
              </a:ln>
              <a:effectLst>
                <a:outerShdw blurRad="317500" algn="ctr" rotWithShape="0">
                  <a:prstClr val="black">
                    <a:alpha val="25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C12D-411B-859C-B6A7EB16A96B}"/>
              </c:ext>
            </c:extLst>
          </c:dPt>
          <c:dPt>
            <c:idx val="1"/>
            <c:bubble3D val="0"/>
            <c:spPr>
              <a:solidFill>
                <a:schemeClr val="accent5"/>
              </a:solidFill>
              <a:ln>
                <a:noFill/>
              </a:ln>
              <a:effectLst>
                <a:outerShdw blurRad="317500" algn="ctr" rotWithShape="0">
                  <a:prstClr val="black">
                    <a:alpha val="25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C12D-411B-859C-B6A7EB16A96B}"/>
              </c:ext>
            </c:extLst>
          </c:dPt>
          <c:dPt>
            <c:idx val="2"/>
            <c:bubble3D val="0"/>
            <c:spPr>
              <a:solidFill>
                <a:schemeClr val="accent5">
                  <a:shade val="65000"/>
                </a:schemeClr>
              </a:solidFill>
              <a:ln>
                <a:noFill/>
              </a:ln>
              <a:effectLst>
                <a:outerShdw blurRad="317500" algn="ctr" rotWithShape="0">
                  <a:prstClr val="black">
                    <a:alpha val="25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C12D-411B-859C-B6A7EB16A96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dk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[tabulky_grafy2018.xlsx]List10!$B$26:$B$28</c:f>
              <c:strCache>
                <c:ptCount val="3"/>
                <c:pt idx="0">
                  <c:v>Praha</c:v>
                </c:pt>
                <c:pt idx="1">
                  <c:v>Čechy</c:v>
                </c:pt>
                <c:pt idx="2">
                  <c:v>Morava</c:v>
                </c:pt>
              </c:strCache>
            </c:strRef>
          </c:cat>
          <c:val>
            <c:numRef>
              <c:f>[tabulky_grafy2018.xlsx]List10!$C$26:$C$28</c:f>
              <c:numCache>
                <c:formatCode>0%</c:formatCode>
                <c:ptCount val="3"/>
                <c:pt idx="0">
                  <c:v>0.12</c:v>
                </c:pt>
                <c:pt idx="1">
                  <c:v>0.49</c:v>
                </c:pt>
                <c:pt idx="2">
                  <c:v>0.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C12D-411B-859C-B6A7EB16A96B}"/>
            </c:ext>
          </c:extLst>
        </c:ser>
        <c:dLbls>
          <c:showLegendKey val="0"/>
          <c:showVal val="1"/>
          <c:showCatName val="1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pattFill prst="dkDnDiag">
      <a:fgClr>
        <a:schemeClr val="lt1">
          <a:lumMod val="95000"/>
        </a:schemeClr>
      </a:fgClr>
      <a:bgClr>
        <a:schemeClr val="lt1"/>
      </a:bgClr>
    </a:pattFill>
    <a:ln w="9525" cap="flat" cmpd="sng" algn="ctr">
      <a:solidFill>
        <a:schemeClr val="dk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1331076327030954"/>
          <c:y val="7.8339885906921605E-2"/>
          <c:w val="0.43170197741021388"/>
          <c:h val="0.82766125218787323"/>
        </c:manualLayout>
      </c:layout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5">
                  <a:tint val="58000"/>
                </a:schemeClr>
              </a:solidFill>
              <a:ln>
                <a:noFill/>
              </a:ln>
              <a:effectLst>
                <a:outerShdw blurRad="317500" algn="ctr" rotWithShape="0">
                  <a:prstClr val="black">
                    <a:alpha val="25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D2E2-47CC-B883-DBF28E9E13F6}"/>
              </c:ext>
            </c:extLst>
          </c:dPt>
          <c:dPt>
            <c:idx val="1"/>
            <c:bubble3D val="0"/>
            <c:spPr>
              <a:solidFill>
                <a:schemeClr val="accent5">
                  <a:tint val="86000"/>
                </a:schemeClr>
              </a:solidFill>
              <a:ln>
                <a:noFill/>
              </a:ln>
              <a:effectLst>
                <a:outerShdw blurRad="317500" algn="ctr" rotWithShape="0">
                  <a:prstClr val="black">
                    <a:alpha val="25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D2E2-47CC-B883-DBF28E9E13F6}"/>
              </c:ext>
            </c:extLst>
          </c:dPt>
          <c:dPt>
            <c:idx val="2"/>
            <c:bubble3D val="0"/>
            <c:spPr>
              <a:solidFill>
                <a:schemeClr val="accent5">
                  <a:shade val="86000"/>
                </a:schemeClr>
              </a:solidFill>
              <a:ln>
                <a:noFill/>
              </a:ln>
              <a:effectLst>
                <a:outerShdw blurRad="317500" algn="ctr" rotWithShape="0">
                  <a:prstClr val="black">
                    <a:alpha val="25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D2E2-47CC-B883-DBF28E9E13F6}"/>
              </c:ext>
            </c:extLst>
          </c:dPt>
          <c:dPt>
            <c:idx val="3"/>
            <c:bubble3D val="0"/>
            <c:spPr>
              <a:solidFill>
                <a:schemeClr val="accent5">
                  <a:shade val="58000"/>
                </a:schemeClr>
              </a:solidFill>
              <a:ln>
                <a:noFill/>
              </a:ln>
              <a:effectLst>
                <a:outerShdw blurRad="317500" algn="ctr" rotWithShape="0">
                  <a:prstClr val="black">
                    <a:alpha val="25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D2E2-47CC-B883-DBF28E9E13F6}"/>
              </c:ext>
            </c:extLst>
          </c:dPt>
          <c:dLbls>
            <c:dLbl>
              <c:idx val="0"/>
              <c:layout>
                <c:manualLayout>
                  <c:x val="0.12499999999999988"/>
                  <c:y val="1.2845215157353944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2E2-47CC-B883-DBF28E9E13F6}"/>
                </c:ext>
              </c:extLst>
            </c:dLbl>
            <c:dLbl>
              <c:idx val="1"/>
              <c:layout>
                <c:manualLayout>
                  <c:x val="-0.10416666666666667"/>
                  <c:y val="0.13487475915221581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2E2-47CC-B883-DBF28E9E13F6}"/>
                </c:ext>
              </c:extLst>
            </c:dLbl>
            <c:dLbl>
              <c:idx val="2"/>
              <c:layout>
                <c:manualLayout>
                  <c:x val="-0.125"/>
                  <c:y val="-7.0648683365446399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D2E2-47CC-B883-DBF28E9E13F6}"/>
                </c:ext>
              </c:extLst>
            </c:dLbl>
            <c:dLbl>
              <c:idx val="3"/>
              <c:layout>
                <c:manualLayout>
                  <c:x val="-1.0416666666666666E-2"/>
                  <c:y val="-8.3493898522800258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D2E2-47CC-B883-DBF28E9E13F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dk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[tabulky_grafy2018.xlsx]List10!$B$36:$B$39</c:f>
              <c:strCache>
                <c:ptCount val="4"/>
                <c:pt idx="0">
                  <c:v>malé obce</c:v>
                </c:pt>
                <c:pt idx="1">
                  <c:v>malá města</c:v>
                </c:pt>
                <c:pt idx="2">
                  <c:v>okresní města</c:v>
                </c:pt>
                <c:pt idx="3">
                  <c:v>velká města</c:v>
                </c:pt>
              </c:strCache>
            </c:strRef>
          </c:cat>
          <c:val>
            <c:numRef>
              <c:f>[tabulky_grafy2018.xlsx]List10!$C$36:$C$39</c:f>
              <c:numCache>
                <c:formatCode>0%</c:formatCode>
                <c:ptCount val="4"/>
                <c:pt idx="0">
                  <c:v>0.5</c:v>
                </c:pt>
                <c:pt idx="1">
                  <c:v>0.14000000000000001</c:v>
                </c:pt>
                <c:pt idx="2">
                  <c:v>0.25</c:v>
                </c:pt>
                <c:pt idx="3">
                  <c:v>0.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D2E2-47CC-B883-DBF28E9E13F6}"/>
            </c:ext>
          </c:extLst>
        </c:ser>
        <c:dLbls>
          <c:showLegendKey val="0"/>
          <c:showVal val="1"/>
          <c:showCatName val="1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pattFill prst="dkDnDiag">
      <a:fgClr>
        <a:schemeClr val="lt1">
          <a:lumMod val="95000"/>
        </a:schemeClr>
      </a:fgClr>
      <a:bgClr>
        <a:schemeClr val="lt1"/>
      </a:bgClr>
    </a:pattFill>
    <a:ln w="9525" cap="flat" cmpd="sng" algn="ctr">
      <a:solidFill>
        <a:schemeClr val="dk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7630913922962959"/>
          <c:y val="2.6524226947893088E-2"/>
          <c:w val="0.52369086077037041"/>
          <c:h val="0.94695154610421384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Pt>
            <c:idx val="5"/>
            <c:invertIfNegative val="0"/>
            <c:bubble3D val="0"/>
            <c:spPr>
              <a:solidFill>
                <a:srgbClr val="007E79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76F-4030-872C-81D03C22E280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r>
                      <a:rPr lang="en-US" dirty="0"/>
                      <a:t>8 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68E5-44D0-83E5-F2E2DA87569C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6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68E5-44D0-83E5-F2E2DA87569C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/>
                      <a:t>14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68E5-44D0-83E5-F2E2DA87569C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 dirty="0"/>
                      <a:t>13 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68E5-44D0-83E5-F2E2DA87569C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/>
                      <a:t>32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68E5-44D0-83E5-F2E2DA87569C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r>
                      <a:rPr lang="en-US"/>
                      <a:t>53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776F-4030-872C-81D03C22E28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2:$I$2</c:f>
              <c:strCache>
                <c:ptCount val="6"/>
                <c:pt idx="0">
                  <c:v>Platební služby, tj. posílání a přijímání plateb (např. Twisto)</c:v>
                </c:pt>
                <c:pt idx="1">
                  <c:v>Přístup ke všem svým účtům v různých bankách (multibanking)</c:v>
                </c:pt>
                <c:pt idx="2">
                  <c:v>Spoření a správa osobních investic</c:v>
                </c:pt>
                <c:pt idx="3">
                  <c:v>Zprostředkování půjček (např. Zonky)</c:v>
                </c:pt>
                <c:pt idx="4">
                  <c:v>Finanční poradenství</c:v>
                </c:pt>
                <c:pt idx="5">
                  <c:v>Žádné</c:v>
                </c:pt>
              </c:strCache>
              <c:extLst/>
            </c:strRef>
          </c:cat>
          <c:val>
            <c:numRef>
              <c:f>List1!$B$3:$I$3</c:f>
              <c:numCache>
                <c:formatCode>0%</c:formatCode>
                <c:ptCount val="6"/>
                <c:pt idx="0">
                  <c:v>7.5640236780640246E-2</c:v>
                </c:pt>
                <c:pt idx="1">
                  <c:v>6.3349518523417858E-2</c:v>
                </c:pt>
                <c:pt idx="2">
                  <c:v>0.1445839928657843</c:v>
                </c:pt>
                <c:pt idx="3">
                  <c:v>0.1289339293286246</c:v>
                </c:pt>
                <c:pt idx="4">
                  <c:v>0.32111901445014679</c:v>
                </c:pt>
                <c:pt idx="5">
                  <c:v>0.52588947776883077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0-776F-4030-872C-81D03C22E28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431268696"/>
        <c:axId val="431268368"/>
      </c:barChart>
      <c:catAx>
        <c:axId val="43126869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31268368"/>
        <c:crosses val="autoZero"/>
        <c:auto val="1"/>
        <c:lblAlgn val="ctr"/>
        <c:lblOffset val="100"/>
        <c:noMultiLvlLbl val="0"/>
      </c:catAx>
      <c:valAx>
        <c:axId val="431268368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4312686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3.9677622037636841E-2"/>
          <c:w val="0.96180555555555558"/>
          <c:h val="0.82872429229049405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53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2C6-4F44-AA01-76FE918E0CB9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dirty="0"/>
                      <a:t>57</a:t>
                    </a:r>
                    <a:r>
                      <a:rPr lang="en-US" baseline="0" dirty="0"/>
                      <a:t>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F2C6-4F44-AA01-76FE918E0CB9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/>
                      <a:t>24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F2C6-4F44-AA01-76FE918E0CB9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/>
                      <a:t>9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F2C6-4F44-AA01-76FE918E0CB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B$22:$F$22</c:f>
              <c:strCache>
                <c:ptCount val="4"/>
                <c:pt idx="0">
                  <c:v>Bojím se o bezpečnost svých dat, hesel apod.</c:v>
                </c:pt>
                <c:pt idx="1">
                  <c:v>Bojím se o bezpečnost svých peněz.</c:v>
                </c:pt>
                <c:pt idx="2">
                  <c:v>Dodatečné finanční služby nechápu, nechci se učit nic nového.</c:v>
                </c:pt>
                <c:pt idx="3">
                  <c:v>Jiné důvody</c:v>
                </c:pt>
              </c:strCache>
              <c:extLst/>
            </c:strRef>
          </c:cat>
          <c:val>
            <c:numRef>
              <c:f>List1!$B$23:$F$23</c:f>
              <c:numCache>
                <c:formatCode>0%</c:formatCode>
                <c:ptCount val="4"/>
                <c:pt idx="0">
                  <c:v>0.53155794469522644</c:v>
                </c:pt>
                <c:pt idx="1">
                  <c:v>0.57192916416252226</c:v>
                </c:pt>
                <c:pt idx="2">
                  <c:v>0.23980739963443537</c:v>
                </c:pt>
                <c:pt idx="3">
                  <c:v>9.0383717093790283E-2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0-7365-499C-91CD-0D27EE61337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36181032"/>
        <c:axId val="436182344"/>
      </c:barChart>
      <c:catAx>
        <c:axId val="4361810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36182344"/>
        <c:crosses val="autoZero"/>
        <c:auto val="1"/>
        <c:lblAlgn val="ctr"/>
        <c:lblOffset val="100"/>
        <c:noMultiLvlLbl val="0"/>
      </c:catAx>
      <c:valAx>
        <c:axId val="436182344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4361810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1477368257360435"/>
          <c:y val="0.13054185394517759"/>
          <c:w val="0.51061695577783184"/>
          <c:h val="0.79809969003256065"/>
        </c:manualLayout>
      </c:layout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5">
                  <a:shade val="58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1DCF-4EAD-B4B6-7E6458E19379}"/>
              </c:ext>
            </c:extLst>
          </c:dPt>
          <c:dPt>
            <c:idx val="1"/>
            <c:bubble3D val="0"/>
            <c:spPr>
              <a:solidFill>
                <a:schemeClr val="accent5">
                  <a:shade val="86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1DCF-4EAD-B4B6-7E6458E19379}"/>
              </c:ext>
            </c:extLst>
          </c:dPt>
          <c:dPt>
            <c:idx val="2"/>
            <c:bubble3D val="0"/>
            <c:spPr>
              <a:solidFill>
                <a:schemeClr val="accent5">
                  <a:tint val="86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1DCF-4EAD-B4B6-7E6458E19379}"/>
              </c:ext>
            </c:extLst>
          </c:dPt>
          <c:dPt>
            <c:idx val="3"/>
            <c:bubble3D val="0"/>
            <c:spPr>
              <a:solidFill>
                <a:schemeClr val="accent5">
                  <a:tint val="58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1DCF-4EAD-B4B6-7E6458E19379}"/>
              </c:ext>
            </c:extLst>
          </c:dPt>
          <c:dPt>
            <c:idx val="4"/>
            <c:bubble3D val="0"/>
            <c:spPr>
              <a:solidFill>
                <a:schemeClr val="accent5">
                  <a:tint val="3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1DCF-4EAD-B4B6-7E6458E19379}"/>
              </c:ext>
            </c:extLst>
          </c:dPt>
          <c:dLbls>
            <c:dLbl>
              <c:idx val="0"/>
              <c:layout>
                <c:manualLayout>
                  <c:x val="0.15676706900979565"/>
                  <c:y val="-0.10781360361942699"/>
                </c:manualLayout>
              </c:layout>
              <c:tx>
                <c:rich>
                  <a:bodyPr/>
                  <a:lstStyle/>
                  <a:p>
                    <a:fld id="{242F9507-79D8-467D-A902-D0F1A9A5F32F}" type="CATEGORYNAME">
                      <a:rPr lang="en-US"/>
                      <a:pPr/>
                      <a:t>[NÁZEV KATEGORIE]</a:t>
                    </a:fld>
                    <a:r>
                      <a:rPr lang="en-US" baseline="0" dirty="0"/>
                      <a:t>; </a:t>
                    </a:r>
                    <a:r>
                      <a:rPr lang="en-US" b="1" baseline="0" dirty="0"/>
                      <a:t>20 %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1DCF-4EAD-B4B6-7E6458E19379}"/>
                </c:ext>
              </c:extLst>
            </c:dLbl>
            <c:dLbl>
              <c:idx val="1"/>
              <c:layout>
                <c:manualLayout>
                  <c:x val="0.19426669379342087"/>
                  <c:y val="-4.0404607317879343E-2"/>
                </c:manualLayout>
              </c:layout>
              <c:tx>
                <c:rich>
                  <a:bodyPr/>
                  <a:lstStyle/>
                  <a:p>
                    <a:fld id="{4E4309B9-717F-4431-9E85-522DB324B6E9}" type="CATEGORYNAME">
                      <a:rPr lang="en-US"/>
                      <a:pPr/>
                      <a:t>[NÁZEV KATEGORIE]</a:t>
                    </a:fld>
                    <a:r>
                      <a:rPr lang="en-US" baseline="0" dirty="0"/>
                      <a:t>; </a:t>
                    </a:r>
                  </a:p>
                  <a:p>
                    <a:r>
                      <a:rPr lang="en-US" b="1" baseline="0" dirty="0"/>
                      <a:t>42 %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1DCF-4EAD-B4B6-7E6458E19379}"/>
                </c:ext>
              </c:extLst>
            </c:dLbl>
            <c:dLbl>
              <c:idx val="2"/>
              <c:layout>
                <c:manualLayout>
                  <c:x val="-0.15700537309848681"/>
                  <c:y val="0.16626147638926228"/>
                </c:manualLayout>
              </c:layout>
              <c:tx>
                <c:rich>
                  <a:bodyPr/>
                  <a:lstStyle/>
                  <a:p>
                    <a:fld id="{3682DBF4-ED94-44B0-AAF0-5F0811478FB2}" type="CATEGORYNAME">
                      <a:rPr lang="en-US"/>
                      <a:pPr/>
                      <a:t>[NÁZEV KATEGORIE]</a:t>
                    </a:fld>
                    <a:r>
                      <a:rPr lang="en-US" baseline="0" dirty="0"/>
                      <a:t>; </a:t>
                    </a:r>
                  </a:p>
                  <a:p>
                    <a:r>
                      <a:rPr lang="en-US" b="1" baseline="0" dirty="0"/>
                      <a:t>31 %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1DCF-4EAD-B4B6-7E6458E19379}"/>
                </c:ext>
              </c:extLst>
            </c:dLbl>
            <c:dLbl>
              <c:idx val="3"/>
              <c:layout>
                <c:manualLayout>
                  <c:x val="-1.9141371524245686E-2"/>
                  <c:y val="-0.16665134101152831"/>
                </c:manualLayout>
              </c:layout>
              <c:tx>
                <c:rich>
                  <a:bodyPr/>
                  <a:lstStyle/>
                  <a:p>
                    <a:fld id="{F4E4668C-D8C6-4808-A263-6676FC9E48E7}" type="CATEGORYNAME">
                      <a:rPr lang="en-US"/>
                      <a:pPr/>
                      <a:t>[NÁZEV KATEGORIE]</a:t>
                    </a:fld>
                    <a:r>
                      <a:rPr lang="en-US" baseline="0" dirty="0"/>
                      <a:t>;</a:t>
                    </a:r>
                  </a:p>
                  <a:p>
                    <a:r>
                      <a:rPr lang="en-US" baseline="0" dirty="0"/>
                      <a:t> </a:t>
                    </a:r>
                    <a:r>
                      <a:rPr lang="en-US" b="1" baseline="0" dirty="0"/>
                      <a:t>7 %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1DCF-4EAD-B4B6-7E6458E19379}"/>
                </c:ext>
              </c:extLst>
            </c:dLbl>
            <c:dLbl>
              <c:idx val="4"/>
              <c:layout>
                <c:manualLayout>
                  <c:x val="-7.5000000000000053E-2"/>
                  <c:y val="-9.0882439167399617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1DCF-4EAD-B4B6-7E6458E1937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C$263:$F$263</c:f>
              <c:strCache>
                <c:ptCount val="4"/>
                <c:pt idx="0">
                  <c:v>určitě ano</c:v>
                </c:pt>
                <c:pt idx="1">
                  <c:v>spíše ano</c:v>
                </c:pt>
                <c:pt idx="2">
                  <c:v>spíše ne</c:v>
                </c:pt>
                <c:pt idx="3">
                  <c:v>určitě ne</c:v>
                </c:pt>
              </c:strCache>
            </c:strRef>
          </c:cat>
          <c:val>
            <c:numRef>
              <c:f>Sheet1!$C$264:$F$264</c:f>
              <c:numCache>
                <c:formatCode>###0%</c:formatCode>
                <c:ptCount val="4"/>
                <c:pt idx="0">
                  <c:v>0.19705000651563101</c:v>
                </c:pt>
                <c:pt idx="1">
                  <c:v>0.42340967992387513</c:v>
                </c:pt>
                <c:pt idx="2">
                  <c:v>0.30807645271245138</c:v>
                </c:pt>
                <c:pt idx="3">
                  <c:v>7.146386084803867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1DCF-4EAD-B4B6-7E6458E1937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/>
  </c:chart>
  <c:spPr>
    <a:solidFill>
      <a:schemeClr val="bg1">
        <a:alpha val="0"/>
      </a:schemeClr>
    </a:solidFill>
    <a:ln w="9525" cap="flat" cmpd="sng" algn="ctr">
      <a:noFill/>
      <a:prstDash val="solid"/>
      <a:round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9228066660196425"/>
          <c:y val="0"/>
          <c:w val="0.58329199683166832"/>
          <c:h val="0.944545744501166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'tabulky grafy'!$R$2</c:f>
              <c:strCache>
                <c:ptCount val="1"/>
                <c:pt idx="0">
                  <c:v>webový prohlížeč</c:v>
                </c:pt>
              </c:strCache>
            </c:strRef>
          </c:tx>
          <c:spPr>
            <a:solidFill>
              <a:srgbClr val="AFD7CF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4 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6EE4-4F34-A47A-D407B165AC55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11 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6EE4-4F34-A47A-D407B165AC55}"/>
                </c:ext>
              </c:extLst>
            </c:dLbl>
            <c:dLbl>
              <c:idx val="2"/>
              <c:layout>
                <c:manualLayout>
                  <c:x val="0"/>
                  <c:y val="5.0412959544393872E-3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64 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6EE4-4F34-A47A-D407B165AC55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/>
                      <a:t>16 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6EE4-4F34-A47A-D407B165AC55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/>
                      <a:t>5 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6EE4-4F34-A47A-D407B165AC5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tabulky grafy'!$Q$3:$Q$7</c:f>
              <c:strCache>
                <c:ptCount val="5"/>
                <c:pt idx="0">
                  <c:v>Několikrát denně.</c:v>
                </c:pt>
                <c:pt idx="1">
                  <c:v>Denně</c:v>
                </c:pt>
                <c:pt idx="2">
                  <c:v>2 – 4x týdně</c:v>
                </c:pt>
                <c:pt idx="3">
                  <c:v>Jednou měsíčně</c:v>
                </c:pt>
                <c:pt idx="4">
                  <c:v>Méně často</c:v>
                </c:pt>
              </c:strCache>
            </c:strRef>
          </c:cat>
          <c:val>
            <c:numRef>
              <c:f>'tabulky grafy'!$R$3:$R$7</c:f>
              <c:numCache>
                <c:formatCode>0%</c:formatCode>
                <c:ptCount val="5"/>
                <c:pt idx="0">
                  <c:v>3.7428079700040799E-2</c:v>
                </c:pt>
                <c:pt idx="1">
                  <c:v>0.11314118935274911</c:v>
                </c:pt>
                <c:pt idx="2">
                  <c:v>0.64</c:v>
                </c:pt>
                <c:pt idx="3">
                  <c:v>0.16087039016490501</c:v>
                </c:pt>
                <c:pt idx="4">
                  <c:v>5.210832731380565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6DE-48F8-BD29-FF874BAEEA1C}"/>
            </c:ext>
          </c:extLst>
        </c:ser>
        <c:ser>
          <c:idx val="1"/>
          <c:order val="1"/>
          <c:tx>
            <c:strRef>
              <c:f>'tabulky grafy'!$S$2</c:f>
              <c:strCache>
                <c:ptCount val="1"/>
                <c:pt idx="0">
                  <c:v>mobilní aplikace</c:v>
                </c:pt>
              </c:strCache>
            </c:strRef>
          </c:tx>
          <c:spPr>
            <a:solidFill>
              <a:srgbClr val="007E79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9 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EE4-4F34-A47A-D407B165AC55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17 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6EE4-4F34-A47A-D407B165AC55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dirty="0"/>
                      <a:t>49 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6EE4-4F34-A47A-D407B165AC55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/>
                      <a:t>14 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6EE4-4F34-A47A-D407B165AC55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/>
                      <a:t>12 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6EE4-4F34-A47A-D407B165AC5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rgbClr val="007E79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tabulky grafy'!$Q$3:$Q$7</c:f>
              <c:strCache>
                <c:ptCount val="5"/>
                <c:pt idx="0">
                  <c:v>Několikrát denně.</c:v>
                </c:pt>
                <c:pt idx="1">
                  <c:v>Denně</c:v>
                </c:pt>
                <c:pt idx="2">
                  <c:v>2 – 4x týdně</c:v>
                </c:pt>
                <c:pt idx="3">
                  <c:v>Jednou měsíčně</c:v>
                </c:pt>
                <c:pt idx="4">
                  <c:v>Méně často</c:v>
                </c:pt>
              </c:strCache>
            </c:strRef>
          </c:cat>
          <c:val>
            <c:numRef>
              <c:f>'tabulky grafy'!$S$3:$S$7</c:f>
              <c:numCache>
                <c:formatCode>0%</c:formatCode>
                <c:ptCount val="5"/>
                <c:pt idx="0">
                  <c:v>9.0381206682704801E-2</c:v>
                </c:pt>
                <c:pt idx="1">
                  <c:v>0.16660133276634848</c:v>
                </c:pt>
                <c:pt idx="2">
                  <c:v>0.49</c:v>
                </c:pt>
                <c:pt idx="3">
                  <c:v>0.13691013442642869</c:v>
                </c:pt>
                <c:pt idx="4">
                  <c:v>0.115113386086620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6DE-48F8-BD29-FF874BAEEA1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2"/>
        <c:axId val="439698528"/>
        <c:axId val="620649056"/>
      </c:barChart>
      <c:catAx>
        <c:axId val="439698528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620649056"/>
        <c:crosses val="autoZero"/>
        <c:auto val="1"/>
        <c:lblAlgn val="ctr"/>
        <c:lblOffset val="100"/>
        <c:noMultiLvlLbl val="0"/>
      </c:catAx>
      <c:valAx>
        <c:axId val="620649056"/>
        <c:scaling>
          <c:orientation val="minMax"/>
        </c:scaling>
        <c:delete val="1"/>
        <c:axPos val="t"/>
        <c:numFmt formatCode="0%" sourceLinked="1"/>
        <c:majorTickMark val="none"/>
        <c:minorTickMark val="none"/>
        <c:tickLblPos val="nextTo"/>
        <c:crossAx val="43969852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3879590871948677"/>
          <c:y val="0.74722763455844099"/>
          <c:w val="0.19420921633882365"/>
          <c:h val="0.115541342894065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>
        <c:manualLayout>
          <c:layoutTarget val="inner"/>
          <c:xMode val="edge"/>
          <c:yMode val="edge"/>
          <c:x val="5.4386518445244558E-2"/>
          <c:y val="8.055698538195312E-2"/>
          <c:w val="0.93297800618914439"/>
          <c:h val="0.60579350307517732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7E79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D0F5-40E2-9628-0038BC2893EE}"/>
              </c:ext>
            </c:extLst>
          </c:dPt>
          <c:dPt>
            <c:idx val="1"/>
            <c:invertIfNegative val="0"/>
            <c:bubble3D val="0"/>
            <c:spPr>
              <a:solidFill>
                <a:srgbClr val="007E79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0F5-40E2-9628-0038BC2893EE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AD8-4A6F-A1D5-CEBC269F49D2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r>
                      <a:rPr lang="en-US" dirty="0"/>
                      <a:t>83 % </a:t>
                    </a:r>
                  </a:p>
                  <a:p>
                    <a:r>
                      <a:rPr lang="en-US" b="0" dirty="0"/>
                      <a:t>2018: 72 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D0F5-40E2-9628-0038BC2893EE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dirty="0"/>
                      <a:t>35 %</a:t>
                    </a:r>
                  </a:p>
                  <a:p>
                    <a:r>
                      <a:rPr lang="en-US" b="0" dirty="0"/>
                      <a:t>2018: 30 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0F5-40E2-9628-0038BC2893EE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dirty="0"/>
                      <a:t>12 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D0F5-40E2-9628-0038BC2893EE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 dirty="0"/>
                      <a:t>5 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D0F5-40E2-9628-0038BC2893EE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/>
                      <a:t>4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D0F5-40E2-9628-0038BC2893EE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r>
                      <a:rPr lang="en-US" dirty="0"/>
                      <a:t>5 %</a:t>
                    </a:r>
                  </a:p>
                  <a:p>
                    <a:r>
                      <a:rPr lang="en-US" b="0" dirty="0"/>
                      <a:t>2018: 18 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AD8-4A6F-A1D5-CEBC269F49D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L$2:$Q$2</c:f>
              <c:strCache>
                <c:ptCount val="6"/>
                <c:pt idx="0">
                  <c:v>Počítač (www stránky).</c:v>
                </c:pt>
                <c:pt idx="1">
                  <c:v>Mobilní telefon (aplikace banky).</c:v>
                </c:pt>
                <c:pt idx="2">
                  <c:v>Telefon přes webový prohlížeč (www stránky; NE přes bankovní mobilní aplikaci).</c:v>
                </c:pt>
                <c:pt idx="3">
                  <c:v>Tablet přes webový prohlížeč (www stránky; NE přes bankovní mobilní aplikaci).</c:v>
                </c:pt>
                <c:pt idx="4">
                  <c:v>Tablet (aplikace banky).</c:v>
                </c:pt>
                <c:pt idx="5">
                  <c:v>Elektronické bankovnictví vůbec nepoužívám.</c:v>
                </c:pt>
              </c:strCache>
            </c:strRef>
          </c:cat>
          <c:val>
            <c:numRef>
              <c:f>Sheet1!$L$3:$Q$3</c:f>
              <c:numCache>
                <c:formatCode>###0%</c:formatCode>
                <c:ptCount val="6"/>
                <c:pt idx="0">
                  <c:v>0.82906023008469953</c:v>
                </c:pt>
                <c:pt idx="1">
                  <c:v>0.35141608922482559</c:v>
                </c:pt>
                <c:pt idx="2">
                  <c:v>0.11716759233234679</c:v>
                </c:pt>
                <c:pt idx="3">
                  <c:v>5.2849871929847601E-2</c:v>
                </c:pt>
                <c:pt idx="4">
                  <c:v>4.0444478373223985E-2</c:v>
                </c:pt>
                <c:pt idx="5">
                  <c:v>4.662303559167094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AD8-4A6F-A1D5-CEBC269F49D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421847024"/>
        <c:axId val="433483824"/>
      </c:barChart>
      <c:catAx>
        <c:axId val="4218470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33483824"/>
        <c:crosses val="autoZero"/>
        <c:auto val="1"/>
        <c:lblAlgn val="ctr"/>
        <c:lblOffset val="100"/>
        <c:noMultiLvlLbl val="0"/>
      </c:catAx>
      <c:valAx>
        <c:axId val="433483824"/>
        <c:scaling>
          <c:orientation val="minMax"/>
        </c:scaling>
        <c:delete val="1"/>
        <c:axPos val="l"/>
        <c:numFmt formatCode="###0%" sourceLinked="1"/>
        <c:majorTickMark val="none"/>
        <c:minorTickMark val="none"/>
        <c:tickLblPos val="nextTo"/>
        <c:crossAx val="4218470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10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13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14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15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16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17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2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20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4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5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6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7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8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9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108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 mods="ignoreCSTransforms">
      <cs:styleClr val="0">
        <a:shade val="25000"/>
      </cs:styl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 mods="ignoreCSTransforms">
      <cs:styleClr val="0">
        <a:tint val="25000"/>
      </cs:styl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1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105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 mods="ignoreCSTransforms">
      <cs:styleClr val="0">
        <a:shade val="25000"/>
      </cs:styl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 mods="ignoreCSTransforms">
      <cs:styleClr val="0">
        <a:tint val="25000"/>
      </cs:styl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15.xml><?xml version="1.0" encoding="utf-8"?>
<cs:chartStyle xmlns:cs="http://schemas.microsoft.com/office/drawing/2012/chartStyle" xmlns:a="http://schemas.openxmlformats.org/drawingml/2006/main" id="105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 mods="ignoreCSTransforms">
      <cs:styleClr val="0">
        <a:shade val="25000"/>
      </cs:styl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 mods="ignoreCSTransforms">
      <cs:styleClr val="0">
        <a:tint val="25000"/>
      </cs:styl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16.xml><?xml version="1.0" encoding="utf-8"?>
<cs:chartStyle xmlns:cs="http://schemas.microsoft.com/office/drawing/2012/chartStyle" xmlns:a="http://schemas.openxmlformats.org/drawingml/2006/main" id="105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 mods="ignoreCSTransforms">
      <cs:styleClr val="0">
        <a:shade val="25000"/>
      </cs:styl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 mods="ignoreCSTransforms">
      <cs:styleClr val="0">
        <a:tint val="25000"/>
      </cs:styl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17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108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 mods="ignoreCSTransforms">
      <cs:styleClr val="0">
        <a:shade val="25000"/>
      </cs:styl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 mods="ignoreCSTransforms">
      <cs:styleClr val="0">
        <a:tint val="25000"/>
      </cs:styl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7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87711</cdr:x>
      <cdr:y>0.65204</cdr:y>
    </cdr:from>
    <cdr:to>
      <cdr:x>0.94241</cdr:x>
      <cdr:y>0.69181</cdr:y>
    </cdr:to>
    <cdr:sp macro="" textlink="">
      <cdr:nvSpPr>
        <cdr:cNvPr id="2" name="TextovéPole 1">
          <a:extLst xmlns:a="http://schemas.openxmlformats.org/drawingml/2006/main">
            <a:ext uri="{FF2B5EF4-FFF2-40B4-BE49-F238E27FC236}">
              <a16:creationId xmlns:a16="http://schemas.microsoft.com/office/drawing/2014/main" id="{CC75A1E4-D175-45D1-9706-D40D1709066B}"/>
            </a:ext>
          </a:extLst>
        </cdr:cNvPr>
        <cdr:cNvSpPr txBox="1"/>
      </cdr:nvSpPr>
      <cdr:spPr>
        <a:xfrm xmlns:a="http://schemas.openxmlformats.org/drawingml/2006/main">
          <a:off x="7052735" y="2498845"/>
          <a:ext cx="525085" cy="152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cs-CZ" sz="1100" dirty="0"/>
        </a:p>
      </cdr:txBody>
    </cdr:sp>
  </cdr:relSizeAnchor>
  <cdr:relSizeAnchor xmlns:cdr="http://schemas.openxmlformats.org/drawingml/2006/chartDrawing">
    <cdr:from>
      <cdr:x>0.87711</cdr:x>
      <cdr:y>0.63713</cdr:y>
    </cdr:from>
    <cdr:to>
      <cdr:x>0.94555</cdr:x>
      <cdr:y>0.67689</cdr:y>
    </cdr:to>
    <cdr:sp macro="" textlink="">
      <cdr:nvSpPr>
        <cdr:cNvPr id="3" name="TextovéPole 2">
          <a:extLst xmlns:a="http://schemas.openxmlformats.org/drawingml/2006/main">
            <a:ext uri="{FF2B5EF4-FFF2-40B4-BE49-F238E27FC236}">
              <a16:creationId xmlns:a16="http://schemas.microsoft.com/office/drawing/2014/main" id="{A404D1F4-B031-4155-827F-D804A20F9F0E}"/>
            </a:ext>
          </a:extLst>
        </cdr:cNvPr>
        <cdr:cNvSpPr txBox="1"/>
      </cdr:nvSpPr>
      <cdr:spPr>
        <a:xfrm xmlns:a="http://schemas.openxmlformats.org/drawingml/2006/main">
          <a:off x="7052735" y="2441695"/>
          <a:ext cx="550333" cy="152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cs-CZ" sz="1100" dirty="0"/>
        </a:p>
      </cdr:txBody>
    </cdr:sp>
  </cdr:relSizeAnchor>
  <cdr:relSizeAnchor xmlns:cdr="http://schemas.openxmlformats.org/drawingml/2006/chartDrawing">
    <cdr:from>
      <cdr:x>0.86829</cdr:x>
      <cdr:y>0.50789</cdr:y>
    </cdr:from>
    <cdr:to>
      <cdr:x>0.95832</cdr:x>
      <cdr:y>0.65701</cdr:y>
    </cdr:to>
    <cdr:sp macro="" textlink="">
      <cdr:nvSpPr>
        <cdr:cNvPr id="4" name="TextovéPole 3">
          <a:extLst xmlns:a="http://schemas.openxmlformats.org/drawingml/2006/main">
            <a:ext uri="{FF2B5EF4-FFF2-40B4-BE49-F238E27FC236}">
              <a16:creationId xmlns:a16="http://schemas.microsoft.com/office/drawing/2014/main" id="{2FEB623F-C6A9-4C20-B71E-D2BF562B4F0B}"/>
            </a:ext>
          </a:extLst>
        </cdr:cNvPr>
        <cdr:cNvSpPr txBox="1"/>
      </cdr:nvSpPr>
      <cdr:spPr>
        <a:xfrm xmlns:a="http://schemas.openxmlformats.org/drawingml/2006/main">
          <a:off x="6981825" y="1946395"/>
          <a:ext cx="723900" cy="5715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cs-CZ" sz="1100" dirty="0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1" y="3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Corbel" panose="020B0503020204020204" pitchFamily="34" charset="0"/>
              </a:defRPr>
            </a:lvl1pPr>
          </a:lstStyle>
          <a:p>
            <a:endParaRPr lang="cs-CZ" dirty="0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50444" y="3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Corbel" panose="020B0503020204020204" pitchFamily="34" charset="0"/>
              </a:defRPr>
            </a:lvl1pPr>
          </a:lstStyle>
          <a:p>
            <a:fld id="{27729BCE-ED7A-4658-B25C-5BEB97915A91}" type="datetimeFigureOut">
              <a:rPr lang="cs-CZ" smtClean="0"/>
              <a:pPr/>
              <a:t>20.06.2019</a:t>
            </a:fld>
            <a:endParaRPr lang="cs-CZ" dirty="0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39838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 dirty="0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79768" y="4777195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 dirty="0"/>
              <a:t>Upravte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1" y="9428586"/>
            <a:ext cx="2945659" cy="49805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Corbel" panose="020B0503020204020204" pitchFamily="34" charset="0"/>
              </a:defRPr>
            </a:lvl1pPr>
          </a:lstStyle>
          <a:p>
            <a:endParaRPr lang="cs-CZ" dirty="0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50444" y="9428586"/>
            <a:ext cx="2945659" cy="49805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Corbel" panose="020B0503020204020204" pitchFamily="34" charset="0"/>
              </a:defRPr>
            </a:lvl1pPr>
          </a:lstStyle>
          <a:p>
            <a:fld id="{5727E4BA-EC8B-437B-80E2-1191BD4AA701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5384292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Corbel" panose="020B0503020204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Corbel" panose="020B0503020204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Corbel" panose="020B0503020204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Corbel" panose="020B0503020204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Corbel" panose="020B0503020204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27E4BA-EC8B-437B-80E2-1191BD4AA701}" type="slidenum">
              <a:rPr lang="cs-CZ" smtClean="0"/>
              <a:pPr/>
              <a:t>1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58056651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27E4BA-EC8B-437B-80E2-1191BD4AA701}" type="slidenum">
              <a:rPr lang="cs-CZ" smtClean="0"/>
              <a:pPr/>
              <a:t>17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63028868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b="1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27E4BA-EC8B-437B-80E2-1191BD4AA701}" type="slidenum">
              <a:rPr lang="cs-CZ" smtClean="0"/>
              <a:pPr/>
              <a:t>18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2610404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27E4BA-EC8B-437B-80E2-1191BD4AA701}" type="slidenum">
              <a:rPr lang="cs-CZ" smtClean="0"/>
              <a:pPr/>
              <a:t>25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405090674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27E4BA-EC8B-437B-80E2-1191BD4AA701}" type="slidenum">
              <a:rPr lang="cs-CZ" smtClean="0"/>
              <a:pPr/>
              <a:t>27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8327133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27E4BA-EC8B-437B-80E2-1191BD4AA701}" type="slidenum">
              <a:rPr lang="cs-CZ" smtClean="0"/>
              <a:pPr/>
              <a:t>5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40618718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27E4BA-EC8B-437B-80E2-1191BD4AA701}" type="slidenum">
              <a:rPr lang="cs-CZ" smtClean="0"/>
              <a:pPr/>
              <a:t>8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75760180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27E4BA-EC8B-437B-80E2-1191BD4AA701}" type="slidenum">
              <a:rPr lang="cs-CZ" smtClean="0"/>
              <a:pPr/>
              <a:t>9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71761961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27E4BA-EC8B-437B-80E2-1191BD4AA701}" type="slidenum">
              <a:rPr lang="cs-CZ" smtClean="0"/>
              <a:pPr/>
              <a:t>10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47342874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27E4BA-EC8B-437B-80E2-1191BD4AA701}" type="slidenum">
              <a:rPr lang="cs-CZ" smtClean="0"/>
              <a:pPr/>
              <a:t>11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00052170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27E4BA-EC8B-437B-80E2-1191BD4AA701}" type="slidenum">
              <a:rPr lang="cs-CZ" smtClean="0"/>
              <a:pPr/>
              <a:t>12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574329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b="1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27E4BA-EC8B-437B-80E2-1191BD4AA701}" type="slidenum">
              <a:rPr lang="cs-CZ" smtClean="0"/>
              <a:pPr/>
              <a:t>13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52661722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b="1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27E4BA-EC8B-437B-80E2-1191BD4AA701}" type="slidenum">
              <a:rPr lang="cs-CZ" smtClean="0"/>
              <a:pPr/>
              <a:t>16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41414983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761999"/>
            <a:ext cx="9141619" cy="53340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9270263" y="761999"/>
            <a:ext cx="2925318" cy="5334001"/>
          </a:xfrm>
          <a:prstGeom prst="rect">
            <a:avLst/>
          </a:prstGeom>
          <a:solidFill>
            <a:srgbClr val="C8C8C8">
              <a:alpha val="4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69848" y="1298448"/>
            <a:ext cx="7315200" cy="3255264"/>
          </a:xfrm>
        </p:spPr>
        <p:txBody>
          <a:bodyPr anchor="b">
            <a:normAutofit/>
          </a:bodyPr>
          <a:lstStyle>
            <a:lvl1pPr algn="l">
              <a:defRPr sz="5900" spc="-100" baseline="0">
                <a:solidFill>
                  <a:srgbClr val="FFFFFF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00015" y="4670246"/>
            <a:ext cx="7315200" cy="914400"/>
          </a:xfrm>
        </p:spPr>
        <p:txBody>
          <a:bodyPr anchor="t">
            <a:normAutofit/>
          </a:bodyPr>
          <a:lstStyle>
            <a:lvl1pPr marL="0" indent="0" algn="l">
              <a:buNone/>
              <a:defRPr sz="2200" cap="none" spc="0" baseline="0">
                <a:solidFill>
                  <a:schemeClr val="accent1">
                    <a:lumMod val="20000"/>
                    <a:lumOff val="80000"/>
                  </a:schemeClr>
                </a:solidFill>
              </a:defRPr>
            </a:lvl1pPr>
            <a:lvl2pPr marL="457200" indent="0" algn="ctr">
              <a:buNone/>
              <a:defRPr sz="2200"/>
            </a:lvl2pPr>
            <a:lvl3pPr marL="914400" indent="0" algn="ctr">
              <a:buNone/>
              <a:defRPr sz="22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cs-CZ"/>
              <a:t>Kliknutím můžete upravit styl předlohy.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41A3FA-5349-47AB-AA7E-BB025B1B7BA9}" type="datetime1">
              <a:rPr lang="cs-CZ" smtClean="0"/>
              <a:t>20.06.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Znění otázky                            / N =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  <p:pic>
        <p:nvPicPr>
          <p:cNvPr id="12" name="Obrázek 11">
            <a:extLst>
              <a:ext uri="{FF2B5EF4-FFF2-40B4-BE49-F238E27FC236}">
                <a16:creationId xmlns:a16="http://schemas.microsoft.com/office/drawing/2014/main" id="{307C86B5-DBAC-47E4-AD1E-41972FF8872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494166" y="968148"/>
            <a:ext cx="2670896" cy="94773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811A61-D6E1-401B-A473-02F0E4BB8794}" type="datetime1">
              <a:rPr lang="cs-CZ" smtClean="0"/>
              <a:t>20.06.20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Znění otázky                            / N = 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7A37FB1D-431F-42B5-BFD4-6C0068244E2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58252" y="223159"/>
            <a:ext cx="1282691" cy="45514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381000" y="990600"/>
            <a:ext cx="2819400" cy="4953000"/>
          </a:xfrm>
        </p:spPr>
        <p:txBody>
          <a:bodyPr vert="eaVert"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867912" y="868680"/>
            <a:ext cx="7315200" cy="5120640"/>
          </a:xfrm>
        </p:spPr>
        <p:txBody>
          <a:bodyPr vert="eaVert" anchor="t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3C6564-D590-4386-9BF6-4E292847805D}" type="datetime1">
              <a:rPr lang="cs-CZ" smtClean="0"/>
              <a:t>20.06.20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Znění otázky                            / N = 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98F8EE37-D7C5-40ED-B63B-6A2D0972157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58252" y="223159"/>
            <a:ext cx="1282691" cy="45514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898F82-CDBE-4AB4-8418-D55DE161981D}" type="datetime1">
              <a:rPr lang="cs-CZ" smtClean="0"/>
              <a:t>20.06.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Znění otázky                            / N =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D4F9D49F-B368-414A-B5DF-7009624A8E0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58252" y="223159"/>
            <a:ext cx="1282691" cy="45514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67912" y="1298448"/>
            <a:ext cx="7315200" cy="3255264"/>
          </a:xfrm>
        </p:spPr>
        <p:txBody>
          <a:bodyPr anchor="b">
            <a:normAutofit/>
          </a:bodyPr>
          <a:lstStyle>
            <a:lvl1pPr>
              <a:defRPr sz="5900" b="0" spc="-1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86200" y="4672584"/>
            <a:ext cx="7315200" cy="914400"/>
          </a:xfrm>
        </p:spPr>
        <p:txBody>
          <a:bodyPr anchor="t">
            <a:normAutofit/>
          </a:bodyPr>
          <a:lstStyle>
            <a:lvl1pPr marL="0" indent="0">
              <a:buNone/>
              <a:defRPr sz="2200" cap="none" spc="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E3E54FBF-4B47-4CF0-B3B5-F1DBBEC944A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58252" y="223159"/>
            <a:ext cx="1282691" cy="455148"/>
          </a:xfrm>
          <a:prstGeom prst="rect">
            <a:avLst/>
          </a:prstGeom>
        </p:spPr>
      </p:pic>
      <p:sp>
        <p:nvSpPr>
          <p:cNvPr id="8" name="Zástupný symbol pro datum 7">
            <a:extLst>
              <a:ext uri="{FF2B5EF4-FFF2-40B4-BE49-F238E27FC236}">
                <a16:creationId xmlns:a16="http://schemas.microsoft.com/office/drawing/2014/main" id="{14DFDE20-BA14-4BA6-B0EE-9802BE7918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0FF2BD-53FF-44AB-A7B2-DE949AA59CB1}" type="datetime1">
              <a:rPr lang="cs-CZ" smtClean="0"/>
              <a:t>20.06.2019</a:t>
            </a:fld>
            <a:endParaRPr lang="en-US" dirty="0"/>
          </a:p>
        </p:txBody>
      </p:sp>
      <p:sp>
        <p:nvSpPr>
          <p:cNvPr id="9" name="Zástupný symbol pro zápatí 8">
            <a:extLst>
              <a:ext uri="{FF2B5EF4-FFF2-40B4-BE49-F238E27FC236}">
                <a16:creationId xmlns:a16="http://schemas.microsoft.com/office/drawing/2014/main" id="{0D562634-346F-44ED-9190-6709B082E9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Znění otázky                            / N = </a:t>
            </a:r>
            <a:endParaRPr lang="en-US" dirty="0"/>
          </a:p>
        </p:txBody>
      </p:sp>
      <p:sp>
        <p:nvSpPr>
          <p:cNvPr id="10" name="Zástupný symbol pro číslo snímku 9">
            <a:extLst>
              <a:ext uri="{FF2B5EF4-FFF2-40B4-BE49-F238E27FC236}">
                <a16:creationId xmlns:a16="http://schemas.microsoft.com/office/drawing/2014/main" id="{7853F3D3-73F0-4E05-BF88-CB1F858235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867912" y="868680"/>
            <a:ext cx="3474720" cy="51206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818120" y="868680"/>
            <a:ext cx="3474720" cy="51206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6ED740-B2F9-42E9-8A5B-108946499D9F}" type="datetime1">
              <a:rPr lang="cs-CZ" smtClean="0"/>
              <a:t>20.06.2019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Znění otázky                            / N = </a:t>
            </a:r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  <p:pic>
        <p:nvPicPr>
          <p:cNvPr id="11" name="Obrázek 10">
            <a:extLst>
              <a:ext uri="{FF2B5EF4-FFF2-40B4-BE49-F238E27FC236}">
                <a16:creationId xmlns:a16="http://schemas.microsoft.com/office/drawing/2014/main" id="{692C57C4-A679-484B-93A9-68E20ACC8D7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58252" y="223159"/>
            <a:ext cx="1282691" cy="45514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67912" y="1023586"/>
            <a:ext cx="3474720" cy="807720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867912" y="1930936"/>
            <a:ext cx="3474720" cy="402336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7818463" y="1023586"/>
            <a:ext cx="3474720" cy="813171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818463" y="1930936"/>
            <a:ext cx="3474720" cy="402336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13F46A-C26F-4F30-9129-2EAD2CCF28CF}" type="datetime1">
              <a:rPr lang="cs-CZ" smtClean="0"/>
              <a:t>20.06.2019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Znění otázky                            / N = </a:t>
            </a:r>
            <a:endParaRPr lang="en-US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4B7C204-E7C0-408E-A169-899ADC96183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58252" y="223159"/>
            <a:ext cx="1282691" cy="45514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6CF87A-918E-4575-832F-3D3B07615A1B}" type="datetime1">
              <a:rPr lang="cs-CZ" smtClean="0"/>
              <a:t>20.06.2019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Znění otázky                            / N = 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  <p:pic>
        <p:nvPicPr>
          <p:cNvPr id="9" name="Obrázek 8">
            <a:extLst>
              <a:ext uri="{FF2B5EF4-FFF2-40B4-BE49-F238E27FC236}">
                <a16:creationId xmlns:a16="http://schemas.microsoft.com/office/drawing/2014/main" id="{05190C48-9E88-4406-8EF8-1B6CE370C20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58252" y="223159"/>
            <a:ext cx="1282691" cy="45514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B794E-9CBF-48E2-B61D-D8267797AACC}" type="datetime1">
              <a:rPr lang="cs-CZ" smtClean="0"/>
              <a:t>20.06.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Znění otázky                            / N = 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  <p:pic>
        <p:nvPicPr>
          <p:cNvPr id="8" name="Obrázek 7">
            <a:extLst>
              <a:ext uri="{FF2B5EF4-FFF2-40B4-BE49-F238E27FC236}">
                <a16:creationId xmlns:a16="http://schemas.microsoft.com/office/drawing/2014/main" id="{A31E8EC6-4EA0-4215-8115-5B600CF6D44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58252" y="223159"/>
            <a:ext cx="1282691" cy="45514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6032" y="1143000"/>
            <a:ext cx="2834640" cy="2377440"/>
          </a:xfrm>
        </p:spPr>
        <p:txBody>
          <a:bodyPr anchor="b">
            <a:normAutofit/>
          </a:bodyPr>
          <a:lstStyle>
            <a:lvl1pPr>
              <a:defRPr sz="3200" b="0" baseline="0"/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67912" y="868680"/>
            <a:ext cx="7315200" cy="51206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6032" y="3494176"/>
            <a:ext cx="2834640" cy="2321990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352A7B-762B-4682-A02D-C5392307C88C}" type="datetime1">
              <a:rPr lang="cs-CZ" smtClean="0"/>
              <a:t>20.06.2019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Znění otázky                            / N = </a:t>
            </a:r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  <p:pic>
        <p:nvPicPr>
          <p:cNvPr id="11" name="Obrázek 10">
            <a:extLst>
              <a:ext uri="{FF2B5EF4-FFF2-40B4-BE49-F238E27FC236}">
                <a16:creationId xmlns:a16="http://schemas.microsoft.com/office/drawing/2014/main" id="{A9E4A7ED-B91B-4914-BC7F-1094E07521D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58252" y="223159"/>
            <a:ext cx="1282691" cy="45514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6032" y="1143000"/>
            <a:ext cx="2834640" cy="2377440"/>
          </a:xfrm>
        </p:spPr>
        <p:txBody>
          <a:bodyPr anchor="b">
            <a:normAutofit/>
          </a:bodyPr>
          <a:lstStyle>
            <a:lvl1pPr>
              <a:defRPr sz="3200" b="0"/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570644" y="767419"/>
            <a:ext cx="8115230" cy="5330952"/>
          </a:xfrm>
          <a:solidFill>
            <a:schemeClr val="bg1">
              <a:lumMod val="75000"/>
            </a:schemeClr>
          </a:solidFill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cs-CZ"/>
              <a:t>Kliknutím na ikonu přidáte obrázek.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6032" y="3493008"/>
            <a:ext cx="2834640" cy="2322576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4B1E5E-7428-4F1A-9351-5D29BD4EE04C}" type="datetime1">
              <a:rPr lang="cs-CZ" smtClean="0"/>
              <a:t>20.06.2019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>
          <a:xfrm>
            <a:off x="3499101" y="6356350"/>
            <a:ext cx="5911517" cy="365125"/>
          </a:xfrm>
        </p:spPr>
        <p:txBody>
          <a:bodyPr/>
          <a:lstStyle/>
          <a:p>
            <a:r>
              <a:rPr lang="en-US"/>
              <a:t>Znění otázky                            / N = </a:t>
            </a:r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  <p:pic>
        <p:nvPicPr>
          <p:cNvPr id="11" name="Obrázek 10">
            <a:extLst>
              <a:ext uri="{FF2B5EF4-FFF2-40B4-BE49-F238E27FC236}">
                <a16:creationId xmlns:a16="http://schemas.microsoft.com/office/drawing/2014/main" id="{17C3AA7A-0E81-4D1E-ABCC-C70E4926284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58252" y="223159"/>
            <a:ext cx="1282691" cy="455148"/>
          </a:xfrm>
          <a:prstGeom prst="rect">
            <a:avLst/>
          </a:prstGeom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" y="758952"/>
            <a:ext cx="3443590" cy="533095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2919" y="1123837"/>
            <a:ext cx="2947482" cy="460118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8" name="Rectangle 37"/>
          <p:cNvSpPr/>
          <p:nvPr/>
        </p:nvSpPr>
        <p:spPr>
          <a:xfrm>
            <a:off x="11815864" y="758952"/>
            <a:ext cx="384048" cy="5330952"/>
          </a:xfrm>
          <a:prstGeom prst="rect">
            <a:avLst/>
          </a:prstGeom>
          <a:solidFill>
            <a:srgbClr val="C8C8C8">
              <a:alpha val="4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69268" y="864108"/>
            <a:ext cx="7315200" cy="512064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cs-CZ" dirty="0"/>
              <a:t>Upravte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62465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171FD865-C857-4181-9D39-8EE93B2C43CD}" type="datetime1">
              <a:rPr lang="cs-CZ" smtClean="0"/>
              <a:t>20.06.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869268" y="6356350"/>
            <a:ext cx="591151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cs-CZ"/>
              <a:t>Znění otázky                            / N =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34135" y="6356350"/>
            <a:ext cx="153092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chemeClr val="accent1"/>
                </a:solidFill>
              </a:defRPr>
            </a:lvl1pPr>
          </a:lstStyle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41" r:id="rId1"/>
    <p:sldLayoutId id="2147483842" r:id="rId2"/>
    <p:sldLayoutId id="2147483843" r:id="rId3"/>
    <p:sldLayoutId id="2147483844" r:id="rId4"/>
    <p:sldLayoutId id="2147483845" r:id="rId5"/>
    <p:sldLayoutId id="2147483846" r:id="rId6"/>
    <p:sldLayoutId id="2147483847" r:id="rId7"/>
    <p:sldLayoutId id="2147483848" r:id="rId8"/>
    <p:sldLayoutId id="2147483849" r:id="rId9"/>
    <p:sldLayoutId id="2147483850" r:id="rId10"/>
    <p:sldLayoutId id="2147483851" r:id="rId11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 spc="-60" baseline="0">
          <a:solidFill>
            <a:srgbClr val="FFFFFF"/>
          </a:solidFill>
          <a:latin typeface="Corbel" panose="020B0503020204020204" pitchFamily="34" charset="0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Clr>
          <a:schemeClr val="accent1"/>
        </a:buClr>
        <a:buFont typeface="Wingdings 2" pitchFamily="18" charset="2"/>
        <a:buChar char=""/>
        <a:defRPr sz="2000" kern="1200">
          <a:solidFill>
            <a:schemeClr val="tx1">
              <a:lumMod val="65000"/>
              <a:lumOff val="35000"/>
            </a:schemeClr>
          </a:solidFill>
          <a:latin typeface="Corbel" panose="020B0503020204020204" pitchFamily="34" charset="0"/>
          <a:ea typeface="+mn-ea"/>
          <a:cs typeface="+mn-cs"/>
        </a:defRPr>
      </a:lvl1pPr>
      <a:lvl2pPr marL="685800" indent="-18288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800" kern="1200">
          <a:solidFill>
            <a:schemeClr val="tx1">
              <a:lumMod val="65000"/>
              <a:lumOff val="35000"/>
            </a:schemeClr>
          </a:solidFill>
          <a:latin typeface="Corbel" panose="020B0503020204020204" pitchFamily="34" charset="0"/>
          <a:ea typeface="+mn-ea"/>
          <a:cs typeface="+mn-cs"/>
        </a:defRPr>
      </a:lvl2pPr>
      <a:lvl3pPr marL="1143000" indent="-18288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600" kern="1200">
          <a:solidFill>
            <a:schemeClr val="tx1">
              <a:lumMod val="65000"/>
              <a:lumOff val="35000"/>
            </a:schemeClr>
          </a:solidFill>
          <a:latin typeface="Corbel" panose="020B0503020204020204" pitchFamily="34" charset="0"/>
          <a:ea typeface="+mn-ea"/>
          <a:cs typeface="+mn-cs"/>
        </a:defRPr>
      </a:lvl3pPr>
      <a:lvl4pPr marL="1600200" indent="-18288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Corbel" panose="020B0503020204020204" pitchFamily="34" charset="0"/>
          <a:ea typeface="+mn-ea"/>
          <a:cs typeface="+mn-cs"/>
        </a:defRPr>
      </a:lvl4pPr>
      <a:lvl5pPr marL="2057400" indent="-18288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Corbel" panose="020B0503020204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.png"/><Relationship Id="rId4" Type="http://schemas.openxmlformats.org/officeDocument/2006/relationships/image" Target="../media/image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chart" Target="../charts/chart13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.xml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Relationship Id="rId4" Type="http://schemas.openxmlformats.org/officeDocument/2006/relationships/chart" Target="../charts/chart1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6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7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Relationship Id="rId5" Type="http://schemas.openxmlformats.org/officeDocument/2006/relationships/chart" Target="../charts/chart4.xml"/><Relationship Id="rId4" Type="http://schemas.openxmlformats.org/officeDocument/2006/relationships/chart" Target="../charts/chart3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12" Type="http://schemas.openxmlformats.org/officeDocument/2006/relationships/image" Target="../media/image2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chart" Target="../charts/chart18.xml"/><Relationship Id="rId5" Type="http://schemas.openxmlformats.org/officeDocument/2006/relationships/tags" Target="../tags/tag4.xml"/><Relationship Id="rId10" Type="http://schemas.openxmlformats.org/officeDocument/2006/relationships/image" Target="../media/image5.emf"/><Relationship Id="rId4" Type="http://schemas.openxmlformats.org/officeDocument/2006/relationships/tags" Target="../tags/tag3.xml"/><Relationship Id="rId9" Type="http://schemas.openxmlformats.org/officeDocument/2006/relationships/oleObject" Target="../embeddings/oleObject4.bin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8.xml"/><Relationship Id="rId7" Type="http://schemas.openxmlformats.org/officeDocument/2006/relationships/oleObject" Target="../embeddings/oleObject6.bin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0.xml"/><Relationship Id="rId10" Type="http://schemas.openxmlformats.org/officeDocument/2006/relationships/image" Target="../media/image2.png"/><Relationship Id="rId4" Type="http://schemas.openxmlformats.org/officeDocument/2006/relationships/tags" Target="../tags/tag9.xml"/><Relationship Id="rId9" Type="http://schemas.openxmlformats.org/officeDocument/2006/relationships/chart" Target="../charts/chart19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12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tags" Target="../tags/tag15.xml"/><Relationship Id="rId11" Type="http://schemas.openxmlformats.org/officeDocument/2006/relationships/image" Target="../media/image2.png"/><Relationship Id="rId5" Type="http://schemas.openxmlformats.org/officeDocument/2006/relationships/tags" Target="../tags/tag14.xml"/><Relationship Id="rId10" Type="http://schemas.openxmlformats.org/officeDocument/2006/relationships/chart" Target="../charts/chart20.xml"/><Relationship Id="rId4" Type="http://schemas.openxmlformats.org/officeDocument/2006/relationships/tags" Target="../tags/tag13.xml"/><Relationship Id="rId9" Type="http://schemas.openxmlformats.org/officeDocument/2006/relationships/image" Target="../media/image5.emf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3" Type="http://schemas.openxmlformats.org/officeDocument/2006/relationships/tags" Target="../tags/tag17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2.png"/><Relationship Id="rId2" Type="http://schemas.openxmlformats.org/officeDocument/2006/relationships/tags" Target="../tags/tag16.xml"/><Relationship Id="rId1" Type="http://schemas.openxmlformats.org/officeDocument/2006/relationships/vmlDrawing" Target="../drawings/vmlDrawing4.vml"/><Relationship Id="rId6" Type="http://schemas.openxmlformats.org/officeDocument/2006/relationships/tags" Target="../tags/tag20.xml"/><Relationship Id="rId11" Type="http://schemas.openxmlformats.org/officeDocument/2006/relationships/chart" Target="../charts/chart22.xml"/><Relationship Id="rId5" Type="http://schemas.openxmlformats.org/officeDocument/2006/relationships/tags" Target="../tags/tag19.xml"/><Relationship Id="rId10" Type="http://schemas.openxmlformats.org/officeDocument/2006/relationships/chart" Target="../charts/chart21.xml"/><Relationship Id="rId4" Type="http://schemas.openxmlformats.org/officeDocument/2006/relationships/tags" Target="../tags/tag18.xml"/><Relationship Id="rId9" Type="http://schemas.openxmlformats.org/officeDocument/2006/relationships/image" Target="../media/image5.emf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2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.xml"/><Relationship Id="rId2" Type="http://schemas.openxmlformats.org/officeDocument/2006/relationships/chart" Target="../charts/chart24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2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Obrázek 11">
            <a:extLst>
              <a:ext uri="{FF2B5EF4-FFF2-40B4-BE49-F238E27FC236}">
                <a16:creationId xmlns:a16="http://schemas.microsoft.com/office/drawing/2014/main" id="{F34031B3-5272-4891-8959-AE678B31346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2184" y="1"/>
            <a:ext cx="3960208" cy="1998720"/>
          </a:xfrm>
          <a:prstGeom prst="rect">
            <a:avLst/>
          </a:prstGeom>
        </p:spPr>
      </p:pic>
      <p:pic>
        <p:nvPicPr>
          <p:cNvPr id="14" name="Obrázek 13">
            <a:extLst>
              <a:ext uri="{FF2B5EF4-FFF2-40B4-BE49-F238E27FC236}">
                <a16:creationId xmlns:a16="http://schemas.microsoft.com/office/drawing/2014/main" id="{39B85B07-5C2D-44AA-9D33-EC166DFCC1E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4299" y="-208257"/>
            <a:ext cx="6437214" cy="7787458"/>
          </a:xfrm>
          <a:prstGeom prst="rect">
            <a:avLst/>
          </a:prstGeom>
        </p:spPr>
      </p:pic>
      <p:sp>
        <p:nvSpPr>
          <p:cNvPr id="15" name="TextovéPole 14">
            <a:extLst>
              <a:ext uri="{FF2B5EF4-FFF2-40B4-BE49-F238E27FC236}">
                <a16:creationId xmlns:a16="http://schemas.microsoft.com/office/drawing/2014/main" id="{FB36FAA6-5912-46AE-A105-4B9F2EF6BDF4}"/>
              </a:ext>
            </a:extLst>
          </p:cNvPr>
          <p:cNvSpPr txBox="1"/>
          <p:nvPr/>
        </p:nvSpPr>
        <p:spPr>
          <a:xfrm>
            <a:off x="0" y="2642065"/>
            <a:ext cx="12192000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3800" b="1" cap="all" dirty="0">
                <a:solidFill>
                  <a:srgbClr val="13576B"/>
                </a:solidFill>
                <a:latin typeface="Montserrat ExtraBold" panose="00000900000000000000" pitchFamily="50" charset="-18"/>
              </a:rPr>
              <a:t>Češi a digitalizace (nejen) bank: </a:t>
            </a:r>
          </a:p>
          <a:p>
            <a:pPr algn="ctr"/>
            <a:r>
              <a:rPr lang="cs-CZ" sz="3800" b="1" cap="all" dirty="0">
                <a:solidFill>
                  <a:srgbClr val="13576B"/>
                </a:solidFill>
                <a:latin typeface="Montserrat ExtraBold" panose="00000900000000000000" pitchFamily="50" charset="-18"/>
              </a:rPr>
              <a:t>Co již ovládají a co chtějí?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2533A1CB-E719-48D9-B37E-DA942188B60F}"/>
              </a:ext>
            </a:extLst>
          </p:cNvPr>
          <p:cNvSpPr txBox="1"/>
          <p:nvPr/>
        </p:nvSpPr>
        <p:spPr>
          <a:xfrm>
            <a:off x="79513" y="4252757"/>
            <a:ext cx="12192000" cy="5890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cs-CZ" sz="2400" b="1" dirty="0">
                <a:solidFill>
                  <a:srgbClr val="007E79"/>
                </a:solidFill>
                <a:latin typeface="Sansation Light" panose="02000000000000000000" pitchFamily="2" charset="0"/>
              </a:rPr>
              <a:t>Tisková konference 20. 6. 2019</a:t>
            </a:r>
            <a:endParaRPr lang="cs-CZ" sz="4800" b="1" dirty="0">
              <a:solidFill>
                <a:srgbClr val="007E79"/>
              </a:solidFill>
              <a:latin typeface="Sansation" panose="02000503000000020004" pitchFamily="2" charset="-18"/>
            </a:endParaRPr>
          </a:p>
        </p:txBody>
      </p:sp>
    </p:spTree>
    <p:extLst>
      <p:ext uri="{BB962C8B-B14F-4D97-AF65-F5344CB8AC3E}">
        <p14:creationId xmlns:p14="http://schemas.microsoft.com/office/powerpoint/2010/main" val="183409409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Graf 21">
            <a:extLst>
              <a:ext uri="{FF2B5EF4-FFF2-40B4-BE49-F238E27FC236}">
                <a16:creationId xmlns:a16="http://schemas.microsoft.com/office/drawing/2014/main" id="{E0D94DB8-E8DD-4911-B755-59E3502F72B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3031046"/>
              </p:ext>
            </p:extLst>
          </p:nvPr>
        </p:nvGraphicFramePr>
        <p:xfrm>
          <a:off x="3581401" y="1832557"/>
          <a:ext cx="7997792" cy="44158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Nadpis 6">
            <a:extLst>
              <a:ext uri="{FF2B5EF4-FFF2-40B4-BE49-F238E27FC236}">
                <a16:creationId xmlns:a16="http://schemas.microsoft.com/office/drawing/2014/main" id="{3237AA46-BFFD-4CAF-A77E-47D4F5F484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cs-CZ" sz="3300" dirty="0"/>
              <a:t>Přístup k </a:t>
            </a:r>
            <a:br>
              <a:rPr lang="cs-CZ" sz="3300" dirty="0"/>
            </a:br>
            <a:r>
              <a:rPr lang="cs-CZ" sz="3300" dirty="0"/>
              <a:t>el. bankovnictví</a:t>
            </a:r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84A6965-0C67-4F86-89C4-3089E01392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577609" y="6356350"/>
            <a:ext cx="7821989" cy="365125"/>
          </a:xfrm>
        </p:spPr>
        <p:txBody>
          <a:bodyPr/>
          <a:lstStyle/>
          <a:p>
            <a:r>
              <a:rPr lang="cs-CZ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Pomocí jakého zařízení se přihlašujete k  elektronickému bankovnictví? (MULTIPLE)   / N = 1011</a:t>
            </a:r>
            <a:endParaRPr lang="en-US" sz="900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783ABC42-F89B-43E3-A89D-DFE303D12F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11" name="Zástupný symbol pro obsah 10">
            <a:extLst>
              <a:ext uri="{FF2B5EF4-FFF2-40B4-BE49-F238E27FC236}">
                <a16:creationId xmlns:a16="http://schemas.microsoft.com/office/drawing/2014/main" id="{051D9063-3C38-4EED-B958-228C3AE7D82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25333" y="733160"/>
            <a:ext cx="7752985" cy="130311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cs-CZ" sz="1600" b="1" dirty="0">
                <a:latin typeface="+mn-lt"/>
              </a:rPr>
              <a:t>Přístup přes klasický webový portál banky přetrvává, ale mobilní aplikace dosahuje </a:t>
            </a:r>
            <a:br>
              <a:rPr lang="cs-CZ" sz="1600" b="1" dirty="0">
                <a:latin typeface="+mn-lt"/>
              </a:rPr>
            </a:br>
            <a:r>
              <a:rPr lang="cs-CZ" sz="1600" b="1" dirty="0">
                <a:latin typeface="+mn-lt"/>
              </a:rPr>
              <a:t>v populaci penetraci zhruba 35 % a u nejmladší generace dokonce přes polovinu (55 %). </a:t>
            </a: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20623BC8-0E8A-4D51-85EA-2620CC6AA97B}"/>
              </a:ext>
            </a:extLst>
          </p:cNvPr>
          <p:cNvSpPr txBox="1"/>
          <p:nvPr/>
        </p:nvSpPr>
        <p:spPr>
          <a:xfrm>
            <a:off x="6161556" y="3159076"/>
            <a:ext cx="33473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4400" dirty="0">
                <a:solidFill>
                  <a:schemeClr val="bg1">
                    <a:lumMod val="50000"/>
                  </a:schemeClr>
                </a:solidFill>
                <a:sym typeface="Symbol" panose="05050102010706020507" pitchFamily="18" charset="2"/>
              </a:rPr>
              <a:t></a:t>
            </a:r>
            <a:endParaRPr lang="cs-CZ" sz="44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CC2C1413-0A80-4367-AD1C-5E8964D8EF0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12287" y="1799873"/>
            <a:ext cx="2168010" cy="1303113"/>
          </a:xfrm>
          <a:prstGeom prst="rect">
            <a:avLst/>
          </a:prstGeom>
        </p:spPr>
      </p:pic>
      <p:sp>
        <p:nvSpPr>
          <p:cNvPr id="25" name="TextovéPole 24">
            <a:extLst>
              <a:ext uri="{FF2B5EF4-FFF2-40B4-BE49-F238E27FC236}">
                <a16:creationId xmlns:a16="http://schemas.microsoft.com/office/drawing/2014/main" id="{3EADB201-8FD2-49B3-AD84-371406CAA1EA}"/>
              </a:ext>
            </a:extLst>
          </p:cNvPr>
          <p:cNvSpPr txBox="1"/>
          <p:nvPr/>
        </p:nvSpPr>
        <p:spPr>
          <a:xfrm>
            <a:off x="11159220" y="4218168"/>
            <a:ext cx="572825" cy="7833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4400" dirty="0">
                <a:solidFill>
                  <a:schemeClr val="bg1">
                    <a:lumMod val="50000"/>
                  </a:schemeClr>
                </a:solidFill>
                <a:sym typeface="Symbol" panose="05050102010706020507" pitchFamily="18" charset="2"/>
              </a:rPr>
              <a:t></a:t>
            </a:r>
            <a:endParaRPr lang="cs-CZ" sz="44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19" name="Obrázek 18">
            <a:extLst>
              <a:ext uri="{FF2B5EF4-FFF2-40B4-BE49-F238E27FC236}">
                <a16:creationId xmlns:a16="http://schemas.microsoft.com/office/drawing/2014/main" id="{55F06971-4199-4EA9-AC83-B152FF219A0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2184" y="1"/>
            <a:ext cx="1538149" cy="776305"/>
          </a:xfrm>
          <a:prstGeom prst="rect">
            <a:avLst/>
          </a:prstGeom>
        </p:spPr>
      </p:pic>
      <p:sp>
        <p:nvSpPr>
          <p:cNvPr id="12" name="TextovéPole 11">
            <a:extLst>
              <a:ext uri="{FF2B5EF4-FFF2-40B4-BE49-F238E27FC236}">
                <a16:creationId xmlns:a16="http://schemas.microsoft.com/office/drawing/2014/main" id="{9167F737-C81F-4428-BBC5-643241283F9F}"/>
              </a:ext>
            </a:extLst>
          </p:cNvPr>
          <p:cNvSpPr txBox="1"/>
          <p:nvPr/>
        </p:nvSpPr>
        <p:spPr>
          <a:xfrm>
            <a:off x="4302579" y="6118035"/>
            <a:ext cx="375557" cy="307777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cs-CZ" sz="1400" dirty="0"/>
              <a:t>49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7DAF6CCA-0589-492B-9641-1B62CB3B2645}"/>
              </a:ext>
            </a:extLst>
          </p:cNvPr>
          <p:cNvSpPr txBox="1"/>
          <p:nvPr/>
        </p:nvSpPr>
        <p:spPr>
          <a:xfrm>
            <a:off x="5631999" y="6128143"/>
            <a:ext cx="375557" cy="307777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cs-CZ" sz="1400" dirty="0"/>
              <a:t>42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B5171EF3-25B4-459F-AF84-BFDE71C2CF2C}"/>
              </a:ext>
            </a:extLst>
          </p:cNvPr>
          <p:cNvSpPr txBox="1"/>
          <p:nvPr/>
        </p:nvSpPr>
        <p:spPr>
          <a:xfrm>
            <a:off x="6871159" y="6118033"/>
            <a:ext cx="375557" cy="307777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cs-CZ" sz="1400" dirty="0"/>
              <a:t>45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D46788F7-5CEF-41C8-AA95-8407A84DDC1E}"/>
              </a:ext>
            </a:extLst>
          </p:cNvPr>
          <p:cNvSpPr txBox="1"/>
          <p:nvPr/>
        </p:nvSpPr>
        <p:spPr>
          <a:xfrm>
            <a:off x="9454243" y="6086286"/>
            <a:ext cx="375557" cy="307777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cs-CZ" sz="1400" dirty="0"/>
              <a:t>40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B49F9699-728A-4017-A918-4F2B27F91B42}"/>
              </a:ext>
            </a:extLst>
          </p:cNvPr>
          <p:cNvSpPr txBox="1"/>
          <p:nvPr/>
        </p:nvSpPr>
        <p:spPr>
          <a:xfrm>
            <a:off x="10783663" y="6075977"/>
            <a:ext cx="375557" cy="307777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cs-CZ" sz="1400" dirty="0"/>
              <a:t>60</a:t>
            </a: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7011EB5B-5B51-4B6C-9529-00742B871844}"/>
              </a:ext>
            </a:extLst>
          </p:cNvPr>
          <p:cNvSpPr txBox="1"/>
          <p:nvPr/>
        </p:nvSpPr>
        <p:spPr>
          <a:xfrm>
            <a:off x="2221293" y="6128144"/>
            <a:ext cx="1257300" cy="307777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cs-CZ" sz="1400" dirty="0"/>
              <a:t>Průměrný věk:</a:t>
            </a: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06D7EA0E-92CA-4587-9A31-3FD4527950DC}"/>
              </a:ext>
            </a:extLst>
          </p:cNvPr>
          <p:cNvSpPr txBox="1"/>
          <p:nvPr/>
        </p:nvSpPr>
        <p:spPr>
          <a:xfrm>
            <a:off x="8170332" y="6118033"/>
            <a:ext cx="375557" cy="307777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cs-CZ" sz="1400" dirty="0"/>
              <a:t>49</a:t>
            </a:r>
          </a:p>
        </p:txBody>
      </p:sp>
    </p:spTree>
    <p:extLst>
      <p:ext uri="{BB962C8B-B14F-4D97-AF65-F5344CB8AC3E}">
        <p14:creationId xmlns:p14="http://schemas.microsoft.com/office/powerpoint/2010/main" val="279495738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8D83B37-06DB-4023-AEEF-09B130692B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Přihlašování do mobilní aplikace</a:t>
            </a:r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C77E5101-7F21-4F9E-A312-116B725B6C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645069" y="6356349"/>
            <a:ext cx="5911517" cy="365125"/>
          </a:xfrm>
        </p:spPr>
        <p:txBody>
          <a:bodyPr/>
          <a:lstStyle/>
          <a:p>
            <a:r>
              <a:rPr lang="en-US" sz="9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Jaké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en-US" sz="9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přihlašování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do  </a:t>
            </a:r>
            <a:r>
              <a:rPr lang="en-US" sz="9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bankovní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en-US" sz="9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mobilní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en-US" sz="9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aplikace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en-US" sz="9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preferujete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?     / N = </a:t>
            </a:r>
            <a:r>
              <a:rPr lang="cs-CZ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511</a:t>
            </a:r>
            <a:endParaRPr lang="en-US" sz="900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35C698E7-EAD4-46ED-83B2-CF08E3F099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11</a:t>
            </a:fld>
            <a:endParaRPr lang="en-US" dirty="0"/>
          </a:p>
        </p:txBody>
      </p:sp>
      <p:graphicFrame>
        <p:nvGraphicFramePr>
          <p:cNvPr id="12" name="Graf 11">
            <a:extLst>
              <a:ext uri="{FF2B5EF4-FFF2-40B4-BE49-F238E27FC236}">
                <a16:creationId xmlns:a16="http://schemas.microsoft.com/office/drawing/2014/main" id="{2B94B779-F42F-47F6-9F0E-AB2DA9E79F4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57608638"/>
              </p:ext>
            </p:extLst>
          </p:nvPr>
        </p:nvGraphicFramePr>
        <p:xfrm>
          <a:off x="3645069" y="958715"/>
          <a:ext cx="6630553" cy="46011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10" name="Obrázek 9">
            <a:extLst>
              <a:ext uri="{FF2B5EF4-FFF2-40B4-BE49-F238E27FC236}">
                <a16:creationId xmlns:a16="http://schemas.microsoft.com/office/drawing/2014/main" id="{567BE7D1-2BF8-45E3-BF9C-BD206E140D4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2184" y="1"/>
            <a:ext cx="1538149" cy="776305"/>
          </a:xfrm>
          <a:prstGeom prst="rect">
            <a:avLst/>
          </a:prstGeom>
        </p:spPr>
      </p:pic>
      <p:sp>
        <p:nvSpPr>
          <p:cNvPr id="11" name="Zástupný symbol pro obsah 2">
            <a:extLst>
              <a:ext uri="{FF2B5EF4-FFF2-40B4-BE49-F238E27FC236}">
                <a16:creationId xmlns:a16="http://schemas.microsoft.com/office/drawing/2014/main" id="{7B0AB0E0-625C-4BB4-B173-9072A5C3B487}"/>
              </a:ext>
            </a:extLst>
          </p:cNvPr>
          <p:cNvSpPr txBox="1">
            <a:spLocks/>
          </p:cNvSpPr>
          <p:nvPr/>
        </p:nvSpPr>
        <p:spPr>
          <a:xfrm>
            <a:off x="7924902" y="2816876"/>
            <a:ext cx="3568989" cy="1947629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/>
              </a:buClr>
              <a:buFont typeface="Wingdings 2" pitchFamily="18" charset="2"/>
              <a:buChar char="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6858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11430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16002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20574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cs-CZ" sz="1600" b="1" dirty="0"/>
              <a:t>Biometrie</a:t>
            </a:r>
            <a:r>
              <a:rPr lang="cs-CZ" sz="1600" dirty="0"/>
              <a:t> si získává své příznivce především mezi mladými vzdělanými lidmi, kteří více sledují „trendy“.</a:t>
            </a:r>
          </a:p>
          <a:p>
            <a:pPr lvl="1"/>
            <a:endParaRPr lang="cs-CZ" sz="1600" dirty="0"/>
          </a:p>
          <a:p>
            <a:pPr lvl="1"/>
            <a:r>
              <a:rPr lang="cs-CZ" sz="1600" dirty="0"/>
              <a:t>V </a:t>
            </a:r>
            <a:r>
              <a:rPr lang="cs-CZ" sz="1600" b="1" dirty="0"/>
              <a:t>75 %</a:t>
            </a:r>
            <a:r>
              <a:rPr lang="cs-CZ" sz="1600" dirty="0"/>
              <a:t> používají </a:t>
            </a:r>
            <a:r>
              <a:rPr lang="cs-CZ" sz="1600" b="1" dirty="0"/>
              <a:t>otisk prstu</a:t>
            </a:r>
            <a:r>
              <a:rPr lang="cs-CZ" sz="1600" dirty="0"/>
              <a:t>. </a:t>
            </a:r>
          </a:p>
          <a:p>
            <a:pPr marL="502920" lvl="1" indent="0">
              <a:buNone/>
            </a:pPr>
            <a:endParaRPr lang="cs-CZ" sz="1400" dirty="0"/>
          </a:p>
        </p:txBody>
      </p:sp>
    </p:spTree>
    <p:extLst>
      <p:ext uri="{BB962C8B-B14F-4D97-AF65-F5344CB8AC3E}">
        <p14:creationId xmlns:p14="http://schemas.microsoft.com/office/powerpoint/2010/main" val="22578699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Graf 11">
            <a:extLst>
              <a:ext uri="{FF2B5EF4-FFF2-40B4-BE49-F238E27FC236}">
                <a16:creationId xmlns:a16="http://schemas.microsoft.com/office/drawing/2014/main" id="{849F5F6C-539A-4743-801C-18A5327B597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47886843"/>
              </p:ext>
            </p:extLst>
          </p:nvPr>
        </p:nvGraphicFramePr>
        <p:xfrm>
          <a:off x="3516297" y="1168604"/>
          <a:ext cx="7705242" cy="54150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E0735439-51FA-46C7-8AA2-F72DB2EB81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919" y="1123837"/>
            <a:ext cx="3113280" cy="4601183"/>
          </a:xfrm>
        </p:spPr>
        <p:txBody>
          <a:bodyPr/>
          <a:lstStyle/>
          <a:p>
            <a:r>
              <a:rPr lang="cs-CZ" dirty="0"/>
              <a:t>Využívání </a:t>
            </a:r>
            <a:br>
              <a:rPr lang="cs-CZ" dirty="0"/>
            </a:br>
            <a:r>
              <a:rPr lang="cs-CZ" dirty="0"/>
              <a:t>el. bankovnictví</a:t>
            </a:r>
          </a:p>
        </p:txBody>
      </p:sp>
      <p:sp>
        <p:nvSpPr>
          <p:cNvPr id="3" name="Zástupný symbol pro obsah 2">
            <a:extLst>
              <a:ext uri="{FF2B5EF4-FFF2-40B4-BE49-F238E27FC236}">
                <a16:creationId xmlns:a16="http://schemas.microsoft.com/office/drawing/2014/main" id="{ADAD581F-239E-4B60-B5F5-2B33E11E62A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69268" y="442761"/>
            <a:ext cx="6688665" cy="681075"/>
          </a:xfrm>
        </p:spPr>
        <p:txBody>
          <a:bodyPr>
            <a:normAutofit/>
          </a:bodyPr>
          <a:lstStyle/>
          <a:p>
            <a:pPr marL="0" indent="0">
              <a:lnSpc>
                <a:spcPct val="100000"/>
              </a:lnSpc>
              <a:buNone/>
            </a:pPr>
            <a:r>
              <a:rPr lang="cs-CZ" sz="1200" b="1" dirty="0">
                <a:latin typeface="+mn-lt"/>
              </a:rPr>
              <a:t>Zásadní rozdíly jsou v tom, že na počítači zadáváme trvalé příkazy a inkasa (často se jedná o větší částky), nastavení účtu a také nákup na e-shopu.  </a:t>
            </a:r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15D2DF2F-33CF-45A9-BB26-975C99536F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516297" y="6401117"/>
            <a:ext cx="7411540" cy="365125"/>
          </a:xfrm>
          <a:noFill/>
        </p:spPr>
        <p:txBody>
          <a:bodyPr/>
          <a:lstStyle/>
          <a:p>
            <a:r>
              <a:rPr lang="cs-CZ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Co vše prostřednictvím elektronického bankovnictví děláte? 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/ N =</a:t>
            </a:r>
            <a:r>
              <a:rPr lang="cs-CZ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945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cs-CZ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webový prohlížeč a N = 511 mobilní aplikace</a:t>
            </a:r>
            <a:endParaRPr lang="en-US" sz="900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8630EF88-179D-4E67-B798-722DDAD193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EB32BD4B-3E79-4EE2-9EA3-62966778DC35}"/>
              </a:ext>
            </a:extLst>
          </p:cNvPr>
          <p:cNvSpPr txBox="1"/>
          <p:nvPr/>
        </p:nvSpPr>
        <p:spPr>
          <a:xfrm>
            <a:off x="9244015" y="5330091"/>
            <a:ext cx="2449285" cy="276999"/>
          </a:xfrm>
          <a:prstGeom prst="rect">
            <a:avLst/>
          </a:prstGeom>
          <a:solidFill>
            <a:srgbClr val="40BAD2"/>
          </a:solidFill>
        </p:spPr>
        <p:txBody>
          <a:bodyPr wrap="square" rtlCol="0">
            <a:spAutoFit/>
          </a:bodyPr>
          <a:lstStyle/>
          <a:p>
            <a:r>
              <a:rPr lang="cs-CZ" sz="1200" dirty="0"/>
              <a:t>Týká se častěji generace 34-49let</a:t>
            </a:r>
          </a:p>
        </p:txBody>
      </p:sp>
      <p:pic>
        <p:nvPicPr>
          <p:cNvPr id="9" name="Obrázek 8">
            <a:extLst>
              <a:ext uri="{FF2B5EF4-FFF2-40B4-BE49-F238E27FC236}">
                <a16:creationId xmlns:a16="http://schemas.microsoft.com/office/drawing/2014/main" id="{E1A49106-D48F-4925-A2CB-72EEEC6B29F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2184" y="1"/>
            <a:ext cx="1538149" cy="776305"/>
          </a:xfrm>
          <a:prstGeom prst="rect">
            <a:avLst/>
          </a:prstGeom>
        </p:spPr>
      </p:pic>
      <p:sp>
        <p:nvSpPr>
          <p:cNvPr id="4" name="Pravá složená závorka 3">
            <a:extLst>
              <a:ext uri="{FF2B5EF4-FFF2-40B4-BE49-F238E27FC236}">
                <a16:creationId xmlns:a16="http://schemas.microsoft.com/office/drawing/2014/main" id="{F859C76B-D2C2-4856-B1D4-01F4339FDF7D}"/>
              </a:ext>
            </a:extLst>
          </p:cNvPr>
          <p:cNvSpPr/>
          <p:nvPr/>
        </p:nvSpPr>
        <p:spPr>
          <a:xfrm>
            <a:off x="8535771" y="4718627"/>
            <a:ext cx="558146" cy="149992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4997618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Graf 15">
            <a:extLst>
              <a:ext uri="{FF2B5EF4-FFF2-40B4-BE49-F238E27FC236}">
                <a16:creationId xmlns:a16="http://schemas.microsoft.com/office/drawing/2014/main" id="{7862B793-A79E-4A9F-98CE-B64FC66CBF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36201206"/>
              </p:ext>
            </p:extLst>
          </p:nvPr>
        </p:nvGraphicFramePr>
        <p:xfrm>
          <a:off x="3763478" y="1357162"/>
          <a:ext cx="7810457" cy="49991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F566D26D-B770-49DE-AD7A-0D6EE4F72D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918" y="1123837"/>
            <a:ext cx="3038921" cy="4601183"/>
          </a:xfrm>
        </p:spPr>
        <p:txBody>
          <a:bodyPr/>
          <a:lstStyle/>
          <a:p>
            <a:r>
              <a:rPr lang="cs-CZ" dirty="0"/>
              <a:t>Přehled, pohodlí a flexibilita, to jsou výhody </a:t>
            </a:r>
            <a:br>
              <a:rPr lang="cs-CZ" dirty="0"/>
            </a:br>
            <a:r>
              <a:rPr lang="cs-CZ" dirty="0"/>
              <a:t>el. bankovnictví </a:t>
            </a:r>
            <a:br>
              <a:rPr lang="cs-CZ" dirty="0"/>
            </a:br>
            <a:endParaRPr lang="cs-CZ" dirty="0"/>
          </a:p>
        </p:txBody>
      </p:sp>
      <p:sp>
        <p:nvSpPr>
          <p:cNvPr id="3" name="Zástupný symbol pro obsah 2">
            <a:extLst>
              <a:ext uri="{FF2B5EF4-FFF2-40B4-BE49-F238E27FC236}">
                <a16:creationId xmlns:a16="http://schemas.microsoft.com/office/drawing/2014/main" id="{0FD71F70-7A7E-45A1-A0DC-6F8351C4B4F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80882" y="776305"/>
            <a:ext cx="6672793" cy="649029"/>
          </a:xfrm>
          <a:noFill/>
          <a:ln>
            <a:noFill/>
          </a:ln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cs-CZ" sz="1600" b="1" dirty="0"/>
              <a:t>Je třeba vnímat, že mladí lidé nevnímají bezpečnost jako výhodu, ale pravděpodobně jako standard. </a:t>
            </a:r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CFC7C0F2-5828-43DE-8D75-4B3C77473B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445788" y="6356350"/>
            <a:ext cx="8031837" cy="365125"/>
          </a:xfrm>
          <a:solidFill>
            <a:schemeClr val="bg1"/>
          </a:solidFill>
        </p:spPr>
        <p:txBody>
          <a:bodyPr/>
          <a:lstStyle/>
          <a:p>
            <a:r>
              <a:rPr lang="en-US" sz="9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Jaké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en-US" sz="9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jsou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en-US" sz="9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podle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en-US" sz="9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Vás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en-US" sz="9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výhody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en-US" sz="9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elektronického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en-US" sz="9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bankovnictví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? /</a:t>
            </a:r>
            <a:r>
              <a:rPr lang="cs-CZ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0 = rozhodně ne, 10 = rozhodně ano / 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N =</a:t>
            </a:r>
            <a:r>
              <a:rPr lang="cs-CZ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945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cs-CZ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webový prohlížeč a N = 511 mobilní aplikace</a:t>
            </a:r>
            <a:endParaRPr lang="en-US" sz="900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CB221CD-A962-4651-AA3A-D607683375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13</a:t>
            </a:fld>
            <a:endParaRPr lang="en-US" dirty="0"/>
          </a:p>
        </p:txBody>
      </p:sp>
      <p:pic>
        <p:nvPicPr>
          <p:cNvPr id="14" name="Obrázek 13">
            <a:extLst>
              <a:ext uri="{FF2B5EF4-FFF2-40B4-BE49-F238E27FC236}">
                <a16:creationId xmlns:a16="http://schemas.microsoft.com/office/drawing/2014/main" id="{5EF5380D-55BF-4411-BEF0-273F50FBBED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2184" y="1"/>
            <a:ext cx="1538149" cy="776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850435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Graf 16">
            <a:extLst>
              <a:ext uri="{FF2B5EF4-FFF2-40B4-BE49-F238E27FC236}">
                <a16:creationId xmlns:a16="http://schemas.microsoft.com/office/drawing/2014/main" id="{760E65A0-5410-474E-953E-A12A531F8B9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37188758"/>
              </p:ext>
            </p:extLst>
          </p:nvPr>
        </p:nvGraphicFramePr>
        <p:xfrm>
          <a:off x="3362325" y="776306"/>
          <a:ext cx="7762975" cy="55117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0" name="Nadpis 9">
            <a:extLst>
              <a:ext uri="{FF2B5EF4-FFF2-40B4-BE49-F238E27FC236}">
                <a16:creationId xmlns:a16="http://schemas.microsoft.com/office/drawing/2014/main" id="{AFF928FA-67A2-4D47-9092-F91AD425FB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919" y="1123837"/>
            <a:ext cx="3109406" cy="4601183"/>
          </a:xfrm>
        </p:spPr>
        <p:txBody>
          <a:bodyPr/>
          <a:lstStyle/>
          <a:p>
            <a:r>
              <a:rPr lang="cs-CZ" dirty="0"/>
              <a:t>Při využívání</a:t>
            </a:r>
            <a:br>
              <a:rPr lang="cs-CZ" dirty="0"/>
            </a:br>
            <a:r>
              <a:rPr lang="cs-CZ" dirty="0"/>
              <a:t>el. bankovnictví</a:t>
            </a:r>
            <a:br>
              <a:rPr lang="cs-CZ" dirty="0"/>
            </a:br>
            <a:r>
              <a:rPr lang="cs-CZ" dirty="0"/>
              <a:t>je zásadní jednoduché ovládání a zabezpečení</a:t>
            </a:r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59AC691E-BDC2-416A-8E52-5564BCEEB4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455469" y="6356349"/>
            <a:ext cx="7669831" cy="365125"/>
          </a:xfrm>
          <a:solidFill>
            <a:schemeClr val="bg1"/>
          </a:solidFill>
        </p:spPr>
        <p:txBody>
          <a:bodyPr/>
          <a:lstStyle/>
          <a:p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Co je pro </a:t>
            </a:r>
            <a:r>
              <a:rPr lang="en-US" sz="9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vás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u </a:t>
            </a:r>
            <a:r>
              <a:rPr lang="en-US" sz="9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elektronického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en-US" sz="9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bankovnictví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en-US" sz="9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důležité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? </a:t>
            </a:r>
            <a:r>
              <a:rPr lang="cs-CZ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N =</a:t>
            </a:r>
            <a:r>
              <a:rPr lang="cs-CZ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945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cs-CZ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webový prohlížeč a N = 511 mobilní aplikace</a:t>
            </a:r>
            <a:endParaRPr lang="en-US" sz="900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7D259F2A-5325-4E28-B39F-CCE60EAB1E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14</a:t>
            </a:fld>
            <a:endParaRPr lang="en-US" dirty="0"/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0380FD35-7064-4C8B-BDBD-014CB64956B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2184" y="1"/>
            <a:ext cx="1538149" cy="776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050379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ED56FFA-6892-4D9C-87B5-8CD1E364FA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918" y="1123837"/>
            <a:ext cx="3049851" cy="4601183"/>
          </a:xfrm>
        </p:spPr>
        <p:txBody>
          <a:bodyPr/>
          <a:lstStyle/>
          <a:p>
            <a:r>
              <a:rPr lang="cs-CZ" dirty="0"/>
              <a:t>Co chceme na el. bankovnictví zlepšit?</a:t>
            </a:r>
          </a:p>
        </p:txBody>
      </p:sp>
      <p:sp>
        <p:nvSpPr>
          <p:cNvPr id="3" name="Zástupný symbol pro obsah 2">
            <a:extLst>
              <a:ext uri="{FF2B5EF4-FFF2-40B4-BE49-F238E27FC236}">
                <a16:creationId xmlns:a16="http://schemas.microsoft.com/office/drawing/2014/main" id="{9E9A95AA-FD37-490A-993D-3857F63148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48366" y="611743"/>
            <a:ext cx="7751232" cy="890130"/>
          </a:xfrm>
        </p:spPr>
        <p:txBody>
          <a:bodyPr>
            <a:normAutofit/>
          </a:bodyPr>
          <a:lstStyle/>
          <a:p>
            <a:pPr marL="0" indent="0">
              <a:lnSpc>
                <a:spcPct val="110000"/>
              </a:lnSpc>
              <a:buNone/>
            </a:pPr>
            <a:r>
              <a:rPr lang="cs-CZ" sz="1600" b="1" dirty="0"/>
              <a:t>Většina klientů je naprosto spokojená, prostor pro zlepšení je podle klientů v krátké transakční historii, nepřehledném ovládání či složitém vyhledávání plateb.</a:t>
            </a:r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AAB86A5A-555C-43F0-8291-B3C6947918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426595" y="6356350"/>
            <a:ext cx="8193905" cy="365125"/>
          </a:xfrm>
          <a:solidFill>
            <a:schemeClr val="bg1"/>
          </a:solidFill>
        </p:spPr>
        <p:txBody>
          <a:bodyPr/>
          <a:lstStyle/>
          <a:p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Co </a:t>
            </a:r>
            <a:r>
              <a:rPr lang="en-US" sz="9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Vám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en-US" sz="9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na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en-US" sz="9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vašem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en-US" sz="9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elektronickém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en-US" sz="9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bankovnictví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en-US" sz="9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nevyhovuje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? / N =</a:t>
            </a:r>
            <a:r>
              <a:rPr lang="cs-CZ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945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cs-CZ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webový prohlížeč a N = 511 mobilní aplikace</a:t>
            </a:r>
            <a:endParaRPr lang="en-US" sz="900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88D52232-1585-4600-9513-DDBEE5DC68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15</a:t>
            </a:fld>
            <a:endParaRPr lang="en-US" dirty="0"/>
          </a:p>
        </p:txBody>
      </p:sp>
      <p:pic>
        <p:nvPicPr>
          <p:cNvPr id="9" name="Obrázek 8">
            <a:extLst>
              <a:ext uri="{FF2B5EF4-FFF2-40B4-BE49-F238E27FC236}">
                <a16:creationId xmlns:a16="http://schemas.microsoft.com/office/drawing/2014/main" id="{C1578347-FD3A-4253-8592-8EA366EB7C0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2184" y="1"/>
            <a:ext cx="1538149" cy="776305"/>
          </a:xfrm>
          <a:prstGeom prst="rect">
            <a:avLst/>
          </a:prstGeom>
        </p:spPr>
      </p:pic>
      <p:graphicFrame>
        <p:nvGraphicFramePr>
          <p:cNvPr id="10" name="Graf 9">
            <a:extLst>
              <a:ext uri="{FF2B5EF4-FFF2-40B4-BE49-F238E27FC236}">
                <a16:creationId xmlns:a16="http://schemas.microsoft.com/office/drawing/2014/main" id="{54BCA05C-8310-4E61-8F88-8BD28A2A97A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80251198"/>
              </p:ext>
            </p:extLst>
          </p:nvPr>
        </p:nvGraphicFramePr>
        <p:xfrm>
          <a:off x="3426595" y="1501873"/>
          <a:ext cx="8070080" cy="49470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401143324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6">
            <a:extLst>
              <a:ext uri="{FF2B5EF4-FFF2-40B4-BE49-F238E27FC236}">
                <a16:creationId xmlns:a16="http://schemas.microsoft.com/office/drawing/2014/main" id="{81A69B52-F13A-44E8-AA36-5D7B17BCDA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4775" y="1123837"/>
            <a:ext cx="3206316" cy="4601183"/>
          </a:xfrm>
        </p:spPr>
        <p:txBody>
          <a:bodyPr/>
          <a:lstStyle/>
          <a:p>
            <a:r>
              <a:rPr lang="cs-CZ" dirty="0"/>
              <a:t>Změna banky kvůli </a:t>
            </a:r>
            <a:br>
              <a:rPr lang="cs-CZ" dirty="0"/>
            </a:br>
            <a:r>
              <a:rPr lang="cs-CZ" dirty="0"/>
              <a:t>el. bankovnictví?</a:t>
            </a:r>
          </a:p>
        </p:txBody>
      </p:sp>
      <p:sp>
        <p:nvSpPr>
          <p:cNvPr id="10" name="Zástupný symbol pro text 9">
            <a:extLst>
              <a:ext uri="{FF2B5EF4-FFF2-40B4-BE49-F238E27FC236}">
                <a16:creationId xmlns:a16="http://schemas.microsoft.com/office/drawing/2014/main" id="{74132306-FCBB-434A-B33B-82C6B1469DE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765532" y="4941186"/>
            <a:ext cx="3763478" cy="765207"/>
          </a:xfrm>
        </p:spPr>
        <p:txBody>
          <a:bodyPr>
            <a:normAutofit/>
          </a:bodyPr>
          <a:lstStyle/>
          <a:p>
            <a:pPr algn="ctr"/>
            <a:r>
              <a:rPr lang="cs-CZ" sz="1600" b="0" i="1" dirty="0"/>
              <a:t>Zhruba čtvrtina klientů by uvažovala o změně.</a:t>
            </a:r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41181B41-9378-499F-BF9A-10A5D0806B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97719" y="6356350"/>
            <a:ext cx="8248849" cy="365125"/>
          </a:xfrm>
          <a:solidFill>
            <a:schemeClr val="bg1"/>
          </a:solidFill>
        </p:spPr>
        <p:txBody>
          <a:bodyPr/>
          <a:lstStyle/>
          <a:p>
            <a:r>
              <a:rPr lang="en-US" sz="9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Změnil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/a </a:t>
            </a:r>
            <a:r>
              <a:rPr lang="en-US" sz="9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byste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en-US" sz="9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banku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en-US" sz="9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kvůli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cs-CZ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elektronickému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en-US" sz="9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bankovnictví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?/ N =</a:t>
            </a:r>
            <a:r>
              <a:rPr lang="cs-CZ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945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cs-CZ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webový prohlížeč a N = 511 mobilní aplikace</a:t>
            </a:r>
            <a:endParaRPr lang="en-US" sz="900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A4841AF5-B388-40C7-BB14-A65045698D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1501C5EC-4395-4AFB-AC66-C3809892694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560456" y="776305"/>
            <a:ext cx="8173632" cy="696359"/>
          </a:xfrm>
        </p:spPr>
        <p:txBody>
          <a:bodyPr>
            <a:normAutofit/>
          </a:bodyPr>
          <a:lstStyle/>
          <a:p>
            <a:r>
              <a:rPr lang="cs-CZ" sz="1800" dirty="0"/>
              <a:t> Až 28 % klientů by kvůli </a:t>
            </a:r>
            <a:r>
              <a:rPr lang="cs-CZ" sz="1800" dirty="0" err="1"/>
              <a:t>internetbankingu</a:t>
            </a:r>
            <a:r>
              <a:rPr lang="cs-CZ" sz="1800" dirty="0"/>
              <a:t> a pětina klientů s mobilní aplikací by mohlo uvažovat o změně banky…</a:t>
            </a:r>
          </a:p>
        </p:txBody>
      </p:sp>
      <p:pic>
        <p:nvPicPr>
          <p:cNvPr id="11" name="Obrázek 10">
            <a:extLst>
              <a:ext uri="{FF2B5EF4-FFF2-40B4-BE49-F238E27FC236}">
                <a16:creationId xmlns:a16="http://schemas.microsoft.com/office/drawing/2014/main" id="{CA7DF9C7-35B3-413F-A2E3-561E2173E89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2184" y="1"/>
            <a:ext cx="1538149" cy="776305"/>
          </a:xfrm>
          <a:prstGeom prst="rect">
            <a:avLst/>
          </a:prstGeom>
        </p:spPr>
      </p:pic>
      <p:sp>
        <p:nvSpPr>
          <p:cNvPr id="12" name="Šipka: dolů 11">
            <a:extLst>
              <a:ext uri="{FF2B5EF4-FFF2-40B4-BE49-F238E27FC236}">
                <a16:creationId xmlns:a16="http://schemas.microsoft.com/office/drawing/2014/main" id="{CDA656DB-FDE7-44E9-AA27-75B293182208}"/>
              </a:ext>
            </a:extLst>
          </p:cNvPr>
          <p:cNvSpPr/>
          <p:nvPr/>
        </p:nvSpPr>
        <p:spPr>
          <a:xfrm>
            <a:off x="6975759" y="4328483"/>
            <a:ext cx="1343025" cy="581025"/>
          </a:xfrm>
          <a:prstGeom prst="downArrow">
            <a:avLst/>
          </a:prstGeom>
          <a:solidFill>
            <a:srgbClr val="007E79"/>
          </a:solidFill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graphicFrame>
        <p:nvGraphicFramePr>
          <p:cNvPr id="13" name="Graf 12">
            <a:extLst>
              <a:ext uri="{FF2B5EF4-FFF2-40B4-BE49-F238E27FC236}">
                <a16:creationId xmlns:a16="http://schemas.microsoft.com/office/drawing/2014/main" id="{425C1DE8-BB1E-4C76-910A-2AF91488512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61166698"/>
              </p:ext>
            </p:extLst>
          </p:nvPr>
        </p:nvGraphicFramePr>
        <p:xfrm>
          <a:off x="3397719" y="1684421"/>
          <a:ext cx="8499106" cy="27981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3508964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B0CE43AA-4F84-4438-A4B8-BF334415B598}"/>
              </a:ext>
            </a:extLst>
          </p:cNvPr>
          <p:cNvSpPr txBox="1"/>
          <p:nvPr/>
        </p:nvSpPr>
        <p:spPr>
          <a:xfrm>
            <a:off x="3461729" y="889258"/>
            <a:ext cx="2634271" cy="64633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2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Nejsem schopen pochopi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2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ělá to někdo jiný (manžel/</a:t>
            </a:r>
            <a:r>
              <a:rPr lang="cs-CZ" sz="1200" i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ka</a:t>
            </a:r>
            <a:r>
              <a:rPr lang="cs-CZ" sz="12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, děti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2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Nepotřebuji</a:t>
            </a:r>
          </a:p>
        </p:txBody>
      </p:sp>
      <p:graphicFrame>
        <p:nvGraphicFramePr>
          <p:cNvPr id="14" name="Graf 13">
            <a:extLst>
              <a:ext uri="{FF2B5EF4-FFF2-40B4-BE49-F238E27FC236}">
                <a16:creationId xmlns:a16="http://schemas.microsoft.com/office/drawing/2014/main" id="{72454958-487E-4F5A-98CC-4D915B3BC3F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34793616"/>
              </p:ext>
            </p:extLst>
          </p:nvPr>
        </p:nvGraphicFramePr>
        <p:xfrm>
          <a:off x="2387062" y="654518"/>
          <a:ext cx="7642461" cy="56211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0A04842E-E884-40DB-A390-56E51F677C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28" y="1128408"/>
            <a:ext cx="3208810" cy="4601183"/>
          </a:xfrm>
        </p:spPr>
        <p:txBody>
          <a:bodyPr/>
          <a:lstStyle/>
          <a:p>
            <a:r>
              <a:rPr lang="cs-CZ" dirty="0"/>
              <a:t>Proč klient nepoužívá </a:t>
            </a:r>
            <a:br>
              <a:rPr lang="cs-CZ" dirty="0"/>
            </a:br>
            <a:r>
              <a:rPr lang="cs-CZ" dirty="0"/>
              <a:t>el. bankovnictví?</a:t>
            </a:r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B22E6E32-0C0C-4D94-ADBB-C215988497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461729" y="6327850"/>
            <a:ext cx="5911517" cy="365125"/>
          </a:xfrm>
        </p:spPr>
        <p:txBody>
          <a:bodyPr/>
          <a:lstStyle/>
          <a:p>
            <a:r>
              <a:rPr lang="en-US" sz="9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Proč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en-US" sz="9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elektronické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en-US" sz="9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bankovnictví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en-US" sz="9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nepoužíváte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? / N = </a:t>
            </a:r>
            <a:r>
              <a:rPr lang="cs-CZ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47</a:t>
            </a:r>
            <a:endParaRPr lang="en-US" sz="900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48F543F-2B4D-4B99-9950-CF76EB98B8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17</a:t>
            </a:fld>
            <a:endParaRPr lang="en-US" dirty="0"/>
          </a:p>
        </p:txBody>
      </p:sp>
      <p:pic>
        <p:nvPicPr>
          <p:cNvPr id="9" name="Obrázek 8">
            <a:extLst>
              <a:ext uri="{FF2B5EF4-FFF2-40B4-BE49-F238E27FC236}">
                <a16:creationId xmlns:a16="http://schemas.microsoft.com/office/drawing/2014/main" id="{9CA4DE55-27DB-4AD7-B38C-0B8B9EB5CDA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2184" y="1"/>
            <a:ext cx="1538149" cy="776305"/>
          </a:xfrm>
          <a:prstGeom prst="rect">
            <a:avLst/>
          </a:prstGeom>
        </p:spPr>
      </p:pic>
      <p:sp>
        <p:nvSpPr>
          <p:cNvPr id="10" name="Zástupný symbol pro obsah 2">
            <a:extLst>
              <a:ext uri="{FF2B5EF4-FFF2-40B4-BE49-F238E27FC236}">
                <a16:creationId xmlns:a16="http://schemas.microsoft.com/office/drawing/2014/main" id="{B4202FDB-0FAA-4C21-A758-EC3D3B437431}"/>
              </a:ext>
            </a:extLst>
          </p:cNvPr>
          <p:cNvSpPr txBox="1">
            <a:spLocks/>
          </p:cNvSpPr>
          <p:nvPr/>
        </p:nvSpPr>
        <p:spPr>
          <a:xfrm>
            <a:off x="8509521" y="2390424"/>
            <a:ext cx="3756819" cy="2542739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/>
              </a:buClr>
              <a:buFont typeface="Wingdings 2" pitchFamily="18" charset="2"/>
              <a:buChar char="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6858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11430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16002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20574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502920" lvl="1" indent="0">
              <a:buNone/>
            </a:pPr>
            <a:r>
              <a:rPr lang="cs-CZ" sz="1600" b="1" dirty="0"/>
              <a:t>Bariéry proti el. bankovnictví souvisí se:</a:t>
            </a:r>
          </a:p>
          <a:p>
            <a:pPr lvl="1"/>
            <a:r>
              <a:rPr lang="cs-CZ" sz="1600" dirty="0"/>
              <a:t>zvyklostmi, </a:t>
            </a:r>
          </a:p>
          <a:p>
            <a:pPr lvl="1"/>
            <a:r>
              <a:rPr lang="cs-CZ" sz="1600" dirty="0"/>
              <a:t>preferencí osobního kontaktu,</a:t>
            </a:r>
          </a:p>
          <a:p>
            <a:pPr lvl="1"/>
            <a:r>
              <a:rPr lang="cs-CZ" sz="1600" dirty="0"/>
              <a:t>technickým vybavením a</a:t>
            </a:r>
          </a:p>
          <a:p>
            <a:pPr lvl="1"/>
            <a:r>
              <a:rPr lang="cs-CZ" sz="1600" dirty="0"/>
              <a:t>počítačovou gramotností.</a:t>
            </a:r>
          </a:p>
          <a:p>
            <a:pPr lvl="1"/>
            <a:endParaRPr lang="cs-CZ" sz="1400" dirty="0"/>
          </a:p>
        </p:txBody>
      </p:sp>
    </p:spTree>
    <p:extLst>
      <p:ext uri="{BB962C8B-B14F-4D97-AF65-F5344CB8AC3E}">
        <p14:creationId xmlns:p14="http://schemas.microsoft.com/office/powerpoint/2010/main" val="33077988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Graf 14">
            <a:extLst>
              <a:ext uri="{FF2B5EF4-FFF2-40B4-BE49-F238E27FC236}">
                <a16:creationId xmlns:a16="http://schemas.microsoft.com/office/drawing/2014/main" id="{2DFA9A59-A059-4351-9B24-AA9AA9829A3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8358816"/>
              </p:ext>
            </p:extLst>
          </p:nvPr>
        </p:nvGraphicFramePr>
        <p:xfrm>
          <a:off x="3533775" y="1956737"/>
          <a:ext cx="7924800" cy="41106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C91A401F-7CEE-4A82-9F3A-F840E54F20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918" y="1123837"/>
            <a:ext cx="3077423" cy="4601183"/>
          </a:xfrm>
        </p:spPr>
        <p:txBody>
          <a:bodyPr/>
          <a:lstStyle/>
          <a:p>
            <a:r>
              <a:rPr lang="cs-CZ" dirty="0"/>
              <a:t>Jaká musí být motivace, aby klient začal používat mobilní aplikaci</a:t>
            </a:r>
          </a:p>
        </p:txBody>
      </p:sp>
      <p:sp>
        <p:nvSpPr>
          <p:cNvPr id="3" name="Zástupný symbol pro obsah 2">
            <a:extLst>
              <a:ext uri="{FF2B5EF4-FFF2-40B4-BE49-F238E27FC236}">
                <a16:creationId xmlns:a16="http://schemas.microsoft.com/office/drawing/2014/main" id="{6648E74B-B9DF-4F1B-A76E-9C8B895F514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69267" y="676276"/>
            <a:ext cx="7779807" cy="1136196"/>
          </a:xfrm>
        </p:spPr>
        <p:txBody>
          <a:bodyPr>
            <a:normAutofit fontScale="85000" lnSpcReduction="10000"/>
          </a:bodyPr>
          <a:lstStyle/>
          <a:p>
            <a:pPr marL="0" indent="0">
              <a:buNone/>
            </a:pPr>
            <a:r>
              <a:rPr lang="cs-CZ" sz="1600" b="1" dirty="0"/>
              <a:t>Pro polovinu klientů nebude, alespoň zatím, motivací vůbec nic – odkazují se na bezpečnost nebo na princip, ale může v tom být především obava z nových technologií včetně celkové nedůvěry.</a:t>
            </a:r>
          </a:p>
          <a:p>
            <a:pPr marL="0" indent="0">
              <a:lnSpc>
                <a:spcPct val="120000"/>
              </a:lnSpc>
              <a:buNone/>
            </a:pPr>
            <a:r>
              <a:rPr lang="cs-CZ" sz="1600" b="1" dirty="0"/>
              <a:t>Klienti stále nevěří míře zabezpečení mobilní aplikace  a motivátory by mohly být i uplatnitelné slevy na služby.</a:t>
            </a:r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A9E17FBF-B724-4A2E-9437-F5D6918C65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426595" y="6356350"/>
            <a:ext cx="6018698" cy="365125"/>
          </a:xfrm>
        </p:spPr>
        <p:txBody>
          <a:bodyPr/>
          <a:lstStyle/>
          <a:p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Co by se </a:t>
            </a:r>
            <a:r>
              <a:rPr lang="en-US" sz="9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muselo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en-US" sz="9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stát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, </a:t>
            </a:r>
            <a:r>
              <a:rPr lang="en-US" sz="9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abyste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en-US" sz="9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začal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/a </a:t>
            </a:r>
            <a:r>
              <a:rPr lang="en-US" sz="9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používat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en-US" sz="9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speciální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en-US" sz="9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bankovní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en-US" sz="9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mobilní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en-US" sz="9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aplikaci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?</a:t>
            </a:r>
            <a:r>
              <a:rPr lang="cs-CZ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/ N = </a:t>
            </a:r>
            <a:r>
              <a:rPr lang="cs-CZ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453</a:t>
            </a:r>
            <a:endParaRPr lang="en-US" sz="900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898F7953-AFD5-4123-B021-3423CFCF57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0CBB4784-DD57-46B5-B540-DCCF993CCF3F}"/>
              </a:ext>
            </a:extLst>
          </p:cNvPr>
          <p:cNvSpPr txBox="1"/>
          <p:nvPr/>
        </p:nvSpPr>
        <p:spPr>
          <a:xfrm>
            <a:off x="8027700" y="2484783"/>
            <a:ext cx="80886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4000" dirty="0">
                <a:sym typeface="Webdings" panose="05030102010509060703" pitchFamily="18" charset="2"/>
              </a:rPr>
              <a:t></a:t>
            </a:r>
            <a:endParaRPr lang="cs-CZ" sz="4000" dirty="0"/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87206A0E-DD52-43B2-9C92-68A29FACD484}"/>
              </a:ext>
            </a:extLst>
          </p:cNvPr>
          <p:cNvSpPr txBox="1"/>
          <p:nvPr/>
        </p:nvSpPr>
        <p:spPr>
          <a:xfrm>
            <a:off x="7741104" y="3872757"/>
            <a:ext cx="249010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>
                <a:solidFill>
                  <a:schemeClr val="bg1">
                    <a:lumMod val="50000"/>
                  </a:schemeClr>
                </a:solidFill>
              </a:rPr>
              <a:t>Žena, nižší vzdělání, okresní města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FE2D6978-4070-49E8-A9B6-68078A91C20D}"/>
              </a:ext>
            </a:extLst>
          </p:cNvPr>
          <p:cNvSpPr txBox="1"/>
          <p:nvPr/>
        </p:nvSpPr>
        <p:spPr>
          <a:xfrm>
            <a:off x="7990086" y="3306832"/>
            <a:ext cx="249010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>
                <a:solidFill>
                  <a:schemeClr val="bg1">
                    <a:lumMod val="50000"/>
                  </a:schemeClr>
                </a:solidFill>
              </a:rPr>
              <a:t>Nižší vzdělání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B4B2482C-9EF5-461C-813D-902C832A0FE1}"/>
              </a:ext>
            </a:extLst>
          </p:cNvPr>
          <p:cNvSpPr txBox="1"/>
          <p:nvPr/>
        </p:nvSpPr>
        <p:spPr>
          <a:xfrm>
            <a:off x="8621457" y="2777170"/>
            <a:ext cx="185873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/>
              <a:t>Ženy, senioři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B89A72AC-8AC6-48A0-92BB-E933E90A32EF}"/>
              </a:ext>
            </a:extLst>
          </p:cNvPr>
          <p:cNvSpPr txBox="1"/>
          <p:nvPr/>
        </p:nvSpPr>
        <p:spPr>
          <a:xfrm>
            <a:off x="7990086" y="2234944"/>
            <a:ext cx="249010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>
                <a:solidFill>
                  <a:schemeClr val="bg1">
                    <a:lumMod val="50000"/>
                  </a:schemeClr>
                </a:solidFill>
              </a:rPr>
              <a:t>Okresní města</a:t>
            </a: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8A4AB42A-6FD2-48A1-BF75-4861A1FA59D0}"/>
              </a:ext>
            </a:extLst>
          </p:cNvPr>
          <p:cNvSpPr txBox="1"/>
          <p:nvPr/>
        </p:nvSpPr>
        <p:spPr>
          <a:xfrm>
            <a:off x="7741104" y="4427963"/>
            <a:ext cx="249010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>
                <a:solidFill>
                  <a:schemeClr val="bg1">
                    <a:lumMod val="50000"/>
                  </a:schemeClr>
                </a:solidFill>
              </a:rPr>
              <a:t>Žena, nižší vzdělání, okresní města</a:t>
            </a:r>
            <a:endParaRPr lang="cs-CZ" sz="12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098A1BD0-E966-4C98-8CA1-4420B6A19D5A}"/>
              </a:ext>
            </a:extLst>
          </p:cNvPr>
          <p:cNvSpPr txBox="1"/>
          <p:nvPr/>
        </p:nvSpPr>
        <p:spPr>
          <a:xfrm>
            <a:off x="7685286" y="4993888"/>
            <a:ext cx="249010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>
                <a:solidFill>
                  <a:schemeClr val="bg1">
                    <a:lumMod val="50000"/>
                  </a:schemeClr>
                </a:solidFill>
              </a:rPr>
              <a:t>Muž, nižší vzdělání, okresní města</a:t>
            </a:r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E6730FF-9FD6-450D-A5B0-DF9BDA1D13D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2184" y="1"/>
            <a:ext cx="1538149" cy="776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985292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007E7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ovéPole 3">
            <a:extLst>
              <a:ext uri="{FF2B5EF4-FFF2-40B4-BE49-F238E27FC236}">
                <a16:creationId xmlns:a16="http://schemas.microsoft.com/office/drawing/2014/main" id="{84E19AEC-BB39-4BD2-8B80-81233EB12169}"/>
              </a:ext>
            </a:extLst>
          </p:cNvPr>
          <p:cNvSpPr txBox="1"/>
          <p:nvPr/>
        </p:nvSpPr>
        <p:spPr>
          <a:xfrm>
            <a:off x="0" y="2809758"/>
            <a:ext cx="121920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spcBef>
                <a:spcPts val="1200"/>
              </a:spcBef>
            </a:pPr>
            <a:r>
              <a:rPr lang="cs-CZ" sz="5400" b="1" dirty="0" err="1">
                <a:solidFill>
                  <a:schemeClr val="bg1"/>
                </a:solidFill>
                <a:latin typeface="Sansation" panose="02000000000000000000" pitchFamily="2" charset="0"/>
              </a:rPr>
              <a:t>Multibanking</a:t>
            </a:r>
            <a:endParaRPr lang="cs-CZ" sz="5400" dirty="0">
              <a:solidFill>
                <a:schemeClr val="bg1"/>
              </a:solidFill>
              <a:latin typeface="Sansation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714192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007E7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ovéPole 3">
            <a:extLst>
              <a:ext uri="{FF2B5EF4-FFF2-40B4-BE49-F238E27FC236}">
                <a16:creationId xmlns:a16="http://schemas.microsoft.com/office/drawing/2014/main" id="{84E19AEC-BB39-4BD2-8B80-81233EB12169}"/>
              </a:ext>
            </a:extLst>
          </p:cNvPr>
          <p:cNvSpPr txBox="1"/>
          <p:nvPr/>
        </p:nvSpPr>
        <p:spPr>
          <a:xfrm>
            <a:off x="539013" y="1345655"/>
            <a:ext cx="8422105" cy="42165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cs-CZ" sz="2400" b="1" dirty="0">
                <a:solidFill>
                  <a:schemeClr val="bg1"/>
                </a:solidFill>
                <a:latin typeface="Sansation" panose="02000000000000000000" pitchFamily="2" charset="0"/>
              </a:rPr>
              <a:t>Metodologi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cs-CZ" sz="2000" dirty="0">
                <a:solidFill>
                  <a:schemeClr val="bg1"/>
                </a:solidFill>
                <a:latin typeface="Sansation" panose="02000000000000000000" pitchFamily="2" charset="0"/>
              </a:rPr>
              <a:t>CAPRI výzkum: telefonická </a:t>
            </a:r>
            <a:r>
              <a:rPr lang="cs-CZ" sz="2000" dirty="0" err="1">
                <a:solidFill>
                  <a:schemeClr val="bg1"/>
                </a:solidFill>
                <a:latin typeface="Sansation" panose="02000000000000000000" pitchFamily="2" charset="0"/>
              </a:rPr>
              <a:t>rekrutace</a:t>
            </a:r>
            <a:r>
              <a:rPr lang="cs-CZ" sz="2000" dirty="0">
                <a:solidFill>
                  <a:schemeClr val="bg1"/>
                </a:solidFill>
                <a:latin typeface="Sansation" panose="02000000000000000000" pitchFamily="2" charset="0"/>
              </a:rPr>
              <a:t> a následný online dotazník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cs-CZ" sz="2000" dirty="0">
                <a:solidFill>
                  <a:schemeClr val="bg1"/>
                </a:solidFill>
                <a:latin typeface="Sansation" panose="02000000000000000000" pitchFamily="2" charset="0"/>
              </a:rPr>
              <a:t>Termín sběru dat: 9. května – 4. června 2019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cs-CZ" sz="2000" dirty="0">
                <a:solidFill>
                  <a:schemeClr val="bg1"/>
                </a:solidFill>
                <a:latin typeface="Sansation" panose="02000000000000000000" pitchFamily="2" charset="0"/>
              </a:rPr>
              <a:t>Počet respondentů: 1011 (věk 18 – 79 let)</a:t>
            </a:r>
          </a:p>
          <a:p>
            <a:endParaRPr lang="cs-CZ" sz="2400" dirty="0">
              <a:solidFill>
                <a:schemeClr val="bg1"/>
              </a:solidFill>
              <a:latin typeface="Sansation"/>
            </a:endParaRPr>
          </a:p>
          <a:p>
            <a:endParaRPr lang="cs-CZ" sz="2400" dirty="0">
              <a:solidFill>
                <a:schemeClr val="bg1"/>
              </a:solidFill>
              <a:latin typeface="Sansation"/>
            </a:endParaRPr>
          </a:p>
          <a:p>
            <a:r>
              <a:rPr lang="cs-CZ" sz="2400" b="1" dirty="0">
                <a:solidFill>
                  <a:schemeClr val="bg1"/>
                </a:solidFill>
                <a:latin typeface="Sansation"/>
              </a:rPr>
              <a:t>Obsah konference</a:t>
            </a:r>
          </a:p>
          <a:p>
            <a:pPr marL="342900" indent="-342900">
              <a:buAutoNum type="arabicPeriod"/>
            </a:pPr>
            <a:r>
              <a:rPr lang="cs-CZ" sz="2000" dirty="0">
                <a:solidFill>
                  <a:schemeClr val="bg1"/>
                </a:solidFill>
                <a:latin typeface="Sansation"/>
              </a:rPr>
              <a:t>Které finanční služby by Češi svěřili někomu jinému</a:t>
            </a:r>
          </a:p>
          <a:p>
            <a:pPr marL="342900" indent="-342900">
              <a:buAutoNum type="arabicPeriod"/>
            </a:pPr>
            <a:r>
              <a:rPr lang="cs-CZ" sz="2000" dirty="0">
                <a:solidFill>
                  <a:schemeClr val="bg1"/>
                </a:solidFill>
                <a:latin typeface="Sansation"/>
              </a:rPr>
              <a:t>Elektronické bankovnictví – přístup a využívání</a:t>
            </a:r>
          </a:p>
          <a:p>
            <a:pPr marL="342900" indent="-342900">
              <a:buAutoNum type="arabicPeriod"/>
            </a:pPr>
            <a:r>
              <a:rPr lang="cs-CZ" sz="2000" dirty="0" err="1">
                <a:solidFill>
                  <a:schemeClr val="bg1"/>
                </a:solidFill>
                <a:latin typeface="Sansation"/>
              </a:rPr>
              <a:t>Multibanking</a:t>
            </a:r>
            <a:r>
              <a:rPr lang="cs-CZ" sz="2000" dirty="0">
                <a:solidFill>
                  <a:schemeClr val="bg1"/>
                </a:solidFill>
                <a:latin typeface="Sansation"/>
              </a:rPr>
              <a:t> – povědomí a přínos</a:t>
            </a:r>
          </a:p>
          <a:p>
            <a:pPr marL="342900" indent="-342900">
              <a:buAutoNum type="arabicPeriod"/>
            </a:pPr>
            <a:r>
              <a:rPr lang="cs-CZ" sz="2000" dirty="0">
                <a:solidFill>
                  <a:schemeClr val="bg1"/>
                </a:solidFill>
                <a:latin typeface="Sansation"/>
              </a:rPr>
              <a:t>Bankovní identita jako vstup k čerpání služeb státu</a:t>
            </a:r>
          </a:p>
          <a:p>
            <a:endParaRPr lang="cs-CZ" sz="2000" dirty="0">
              <a:solidFill>
                <a:schemeClr val="bg1"/>
              </a:solidFill>
              <a:latin typeface="Sansation"/>
            </a:endParaRPr>
          </a:p>
        </p:txBody>
      </p:sp>
      <p:graphicFrame>
        <p:nvGraphicFramePr>
          <p:cNvPr id="3" name="Graf 2">
            <a:extLst>
              <a:ext uri="{FF2B5EF4-FFF2-40B4-BE49-F238E27FC236}">
                <a16:creationId xmlns:a16="http://schemas.microsoft.com/office/drawing/2014/main" id="{4FDA0902-E734-44D8-B744-D9001A92AB5F}"/>
              </a:ext>
            </a:extLst>
          </p:cNvPr>
          <p:cNvGraphicFramePr>
            <a:graphicFrameLocks/>
          </p:cNvGraphicFramePr>
          <p:nvPr/>
        </p:nvGraphicFramePr>
        <p:xfrm>
          <a:off x="8768613" y="5024482"/>
          <a:ext cx="3109724" cy="16220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5" name="Graf 4">
            <a:extLst>
              <a:ext uri="{FF2B5EF4-FFF2-40B4-BE49-F238E27FC236}">
                <a16:creationId xmlns:a16="http://schemas.microsoft.com/office/drawing/2014/main" id="{37B9CF25-8228-4CFC-9FAE-4331BB79F79F}"/>
              </a:ext>
            </a:extLst>
          </p:cNvPr>
          <p:cNvGraphicFramePr>
            <a:graphicFrameLocks/>
          </p:cNvGraphicFramePr>
          <p:nvPr/>
        </p:nvGraphicFramePr>
        <p:xfrm>
          <a:off x="8768614" y="261357"/>
          <a:ext cx="3109722" cy="16220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6" name="Graf 5">
            <a:extLst>
              <a:ext uri="{FF2B5EF4-FFF2-40B4-BE49-F238E27FC236}">
                <a16:creationId xmlns:a16="http://schemas.microsoft.com/office/drawing/2014/main" id="{41A7A543-2E70-4298-9142-2CCE088A446A}"/>
              </a:ext>
            </a:extLst>
          </p:cNvPr>
          <p:cNvGraphicFramePr>
            <a:graphicFrameLocks/>
          </p:cNvGraphicFramePr>
          <p:nvPr/>
        </p:nvGraphicFramePr>
        <p:xfrm>
          <a:off x="8768612" y="3402473"/>
          <a:ext cx="3109724" cy="16220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7" name="Graf 6">
            <a:extLst>
              <a:ext uri="{FF2B5EF4-FFF2-40B4-BE49-F238E27FC236}">
                <a16:creationId xmlns:a16="http://schemas.microsoft.com/office/drawing/2014/main" id="{0B927249-60DC-4B9E-AEC3-357F9489D2EF}"/>
              </a:ext>
            </a:extLst>
          </p:cNvPr>
          <p:cNvGraphicFramePr>
            <a:graphicFrameLocks/>
          </p:cNvGraphicFramePr>
          <p:nvPr/>
        </p:nvGraphicFramePr>
        <p:xfrm>
          <a:off x="8768612" y="1806991"/>
          <a:ext cx="3109724" cy="16220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74666876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0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Ovál 13">
            <a:extLst>
              <a:ext uri="{FF2B5EF4-FFF2-40B4-BE49-F238E27FC236}">
                <a16:creationId xmlns:a16="http://schemas.microsoft.com/office/drawing/2014/main" id="{7362E4A8-03BF-41E2-B435-35124514AEB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6200000">
            <a:off x="6440452" y="3861378"/>
            <a:ext cx="3498700" cy="1469571"/>
          </a:xfrm>
          <a:prstGeom prst="ellipse">
            <a:avLst/>
          </a:prstGeom>
          <a:solidFill>
            <a:schemeClr val="bg1">
              <a:lumMod val="75000"/>
              <a:alpha val="12941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E0735439-51FA-46C7-8AA2-F72DB2EB81D7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cs-CZ" dirty="0"/>
              <a:t>Povědomí </a:t>
            </a:r>
            <a:br>
              <a:rPr lang="cs-CZ" dirty="0"/>
            </a:br>
            <a:r>
              <a:rPr lang="cs-CZ" dirty="0"/>
              <a:t>a využívání </a:t>
            </a:r>
            <a:r>
              <a:rPr lang="cs-CZ" dirty="0" err="1"/>
              <a:t>multibankingu</a:t>
            </a:r>
            <a:endParaRPr lang="cs-CZ" dirty="0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15D2DF2F-33CF-45A9-BB26-975C99536FF0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>
          <a:xfrm>
            <a:off x="3378467" y="6345514"/>
            <a:ext cx="7937878" cy="365125"/>
          </a:xfrm>
        </p:spPr>
        <p:txBody>
          <a:bodyPr/>
          <a:lstStyle/>
          <a:p>
            <a:r>
              <a:rPr lang="cs-CZ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Slyšeli jste o možnosti ovládat všechny své účty z různých bank z jednoho místa –  tzv. </a:t>
            </a:r>
            <a:r>
              <a:rPr lang="cs-CZ" sz="9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multibankingu</a:t>
            </a:r>
            <a:r>
              <a:rPr lang="cs-CZ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? / N = 1011 </a:t>
            </a:r>
          </a:p>
          <a:p>
            <a:r>
              <a:rPr lang="cs-CZ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Využívali byste </a:t>
            </a:r>
            <a:r>
              <a:rPr lang="cs-CZ" sz="9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multibanking</a:t>
            </a:r>
            <a:r>
              <a:rPr lang="cs-CZ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neboli otevřené bankovnictví? 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/ N = </a:t>
            </a:r>
            <a:r>
              <a:rPr lang="cs-CZ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1011</a:t>
            </a:r>
            <a:endParaRPr lang="en-US" sz="900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8630EF88-179D-4E67-B798-722DDAD1937D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20</a:t>
            </a:fld>
            <a:endParaRPr lang="en-US" dirty="0"/>
          </a:p>
        </p:txBody>
      </p:sp>
      <p:graphicFrame>
        <p:nvGraphicFramePr>
          <p:cNvPr id="11" name="Graf 10">
            <a:extLst>
              <a:ext uri="{FF2B5EF4-FFF2-40B4-BE49-F238E27FC236}">
                <a16:creationId xmlns:a16="http://schemas.microsoft.com/office/drawing/2014/main" id="{EDD886EF-DD0D-4574-9383-3C23C308233F}"/>
              </a:ext>
            </a:extLst>
          </p:cNvPr>
          <p:cNvGraphicFramePr>
            <a:graphicFrameLocks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826432864"/>
              </p:ext>
            </p:extLst>
          </p:nvPr>
        </p:nvGraphicFramePr>
        <p:xfrm>
          <a:off x="3519677" y="2991335"/>
          <a:ext cx="8251537" cy="35099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pic>
        <p:nvPicPr>
          <p:cNvPr id="10" name="Obrázek 9">
            <a:extLst>
              <a:ext uri="{FF2B5EF4-FFF2-40B4-BE49-F238E27FC236}">
                <a16:creationId xmlns:a16="http://schemas.microsoft.com/office/drawing/2014/main" id="{0F619325-D393-444A-938B-A2CA5E05D21A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2184" y="1"/>
            <a:ext cx="1538149" cy="776305"/>
          </a:xfrm>
          <a:prstGeom prst="rect">
            <a:avLst/>
          </a:prstGeom>
        </p:spPr>
      </p:pic>
      <p:sp>
        <p:nvSpPr>
          <p:cNvPr id="8" name="TextovéPole 7">
            <a:extLst>
              <a:ext uri="{FF2B5EF4-FFF2-40B4-BE49-F238E27FC236}">
                <a16:creationId xmlns:a16="http://schemas.microsoft.com/office/drawing/2014/main" id="{228B0162-DD9F-4E45-A87E-494C8B223CD7}"/>
              </a:ext>
            </a:extLst>
          </p:cNvPr>
          <p:cNvSpPr txBox="1"/>
          <p:nvPr/>
        </p:nvSpPr>
        <p:spPr>
          <a:xfrm>
            <a:off x="5039599" y="604590"/>
            <a:ext cx="5423062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4000" b="1" dirty="0"/>
              <a:t>49 %</a:t>
            </a:r>
            <a:r>
              <a:rPr lang="cs-CZ" sz="2400" b="1" dirty="0"/>
              <a:t> lidí už o </a:t>
            </a:r>
            <a:r>
              <a:rPr lang="cs-CZ" sz="2400" b="1" dirty="0" err="1"/>
              <a:t>multibankingu</a:t>
            </a:r>
            <a:r>
              <a:rPr lang="cs-CZ" sz="2400" b="1" dirty="0"/>
              <a:t> slyšelo</a:t>
            </a:r>
            <a:endParaRPr lang="cs-CZ" b="1" dirty="0"/>
          </a:p>
          <a:p>
            <a:r>
              <a:rPr lang="cs-CZ" b="1" dirty="0"/>
              <a:t>			     </a:t>
            </a:r>
          </a:p>
          <a:p>
            <a:r>
              <a:rPr lang="cs-CZ" b="1" dirty="0"/>
              <a:t>			     Využívali by ho?</a:t>
            </a:r>
          </a:p>
        </p:txBody>
      </p:sp>
      <p:sp>
        <p:nvSpPr>
          <p:cNvPr id="9" name="Šipka: dolů 8">
            <a:extLst>
              <a:ext uri="{FF2B5EF4-FFF2-40B4-BE49-F238E27FC236}">
                <a16:creationId xmlns:a16="http://schemas.microsoft.com/office/drawing/2014/main" id="{05C8652E-0662-4D5E-BAE4-088D4F093423}"/>
              </a:ext>
            </a:extLst>
          </p:cNvPr>
          <p:cNvSpPr/>
          <p:nvPr/>
        </p:nvSpPr>
        <p:spPr>
          <a:xfrm rot="1493148">
            <a:off x="6361746" y="1951902"/>
            <a:ext cx="673474" cy="1212158"/>
          </a:xfrm>
          <a:prstGeom prst="downArrow">
            <a:avLst/>
          </a:prstGeom>
          <a:solidFill>
            <a:srgbClr val="007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/>
              <a:t>ANO</a:t>
            </a:r>
          </a:p>
        </p:txBody>
      </p:sp>
      <p:sp>
        <p:nvSpPr>
          <p:cNvPr id="16" name="Šipka: dolů 15">
            <a:extLst>
              <a:ext uri="{FF2B5EF4-FFF2-40B4-BE49-F238E27FC236}">
                <a16:creationId xmlns:a16="http://schemas.microsoft.com/office/drawing/2014/main" id="{8F7854CA-2239-437D-A948-3F3D9D78565C}"/>
              </a:ext>
            </a:extLst>
          </p:cNvPr>
          <p:cNvSpPr/>
          <p:nvPr/>
        </p:nvSpPr>
        <p:spPr>
          <a:xfrm rot="20069762">
            <a:off x="8131470" y="1914351"/>
            <a:ext cx="724918" cy="1287259"/>
          </a:xfrm>
          <a:prstGeom prst="down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/>
              <a:t>NE</a:t>
            </a:r>
          </a:p>
        </p:txBody>
      </p:sp>
    </p:spTree>
    <p:extLst>
      <p:ext uri="{BB962C8B-B14F-4D97-AF65-F5344CB8AC3E}">
        <p14:creationId xmlns:p14="http://schemas.microsoft.com/office/powerpoint/2010/main" val="397665946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6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E0735439-51FA-46C7-8AA2-F72DB2EB81D7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252919" y="1123837"/>
            <a:ext cx="3137644" cy="4601183"/>
          </a:xfrm>
        </p:spPr>
        <p:txBody>
          <a:bodyPr/>
          <a:lstStyle/>
          <a:p>
            <a:r>
              <a:rPr lang="cs-CZ" dirty="0" err="1"/>
              <a:t>Multibanking</a:t>
            </a:r>
            <a:r>
              <a:rPr lang="cs-CZ" dirty="0"/>
              <a:t> přes startup nebo banku? </a:t>
            </a:r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15D2DF2F-33CF-45A9-BB26-975C99536FF0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3390563" y="6356349"/>
            <a:ext cx="7004219" cy="365125"/>
          </a:xfrm>
        </p:spPr>
        <p:txBody>
          <a:bodyPr/>
          <a:lstStyle/>
          <a:p>
            <a:r>
              <a:rPr lang="cs-CZ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Využití </a:t>
            </a:r>
            <a:r>
              <a:rPr lang="cs-CZ" sz="9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multibanking</a:t>
            </a:r>
            <a:r>
              <a:rPr lang="cs-CZ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přes banky nebo nebankovní firmy a startupy 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/ N = </a:t>
            </a:r>
            <a:r>
              <a:rPr lang="cs-CZ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268</a:t>
            </a:r>
            <a:endParaRPr lang="en-US" sz="900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8630EF88-179D-4E67-B798-722DDAD1937D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21</a:t>
            </a:fld>
            <a:endParaRPr lang="en-US" dirty="0"/>
          </a:p>
        </p:txBody>
      </p:sp>
      <p:graphicFrame>
        <p:nvGraphicFramePr>
          <p:cNvPr id="13" name="Graf 12">
            <a:extLst>
              <a:ext uri="{FF2B5EF4-FFF2-40B4-BE49-F238E27FC236}">
                <a16:creationId xmlns:a16="http://schemas.microsoft.com/office/drawing/2014/main" id="{58DE592C-B00C-4162-A0A8-D22F26DD805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82006934"/>
              </p:ext>
            </p:extLst>
          </p:nvPr>
        </p:nvGraphicFramePr>
        <p:xfrm>
          <a:off x="3128211" y="959972"/>
          <a:ext cx="7027219" cy="53963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pic>
        <p:nvPicPr>
          <p:cNvPr id="9" name="Obrázek 8">
            <a:extLst>
              <a:ext uri="{FF2B5EF4-FFF2-40B4-BE49-F238E27FC236}">
                <a16:creationId xmlns:a16="http://schemas.microsoft.com/office/drawing/2014/main" id="{18890303-8C16-4314-B600-8BB7E129192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2184" y="1"/>
            <a:ext cx="1538149" cy="776305"/>
          </a:xfrm>
          <a:prstGeom prst="rect">
            <a:avLst/>
          </a:prstGeom>
        </p:spPr>
      </p:pic>
      <p:sp>
        <p:nvSpPr>
          <p:cNvPr id="10" name="Zástupný symbol pro obsah 2">
            <a:extLst>
              <a:ext uri="{FF2B5EF4-FFF2-40B4-BE49-F238E27FC236}">
                <a16:creationId xmlns:a16="http://schemas.microsoft.com/office/drawing/2014/main" id="{BD41F3F4-0FAA-4017-AAF6-4A773D3EA5D3}"/>
              </a:ext>
            </a:extLst>
          </p:cNvPr>
          <p:cNvSpPr txBox="1">
            <a:spLocks/>
          </p:cNvSpPr>
          <p:nvPr/>
        </p:nvSpPr>
        <p:spPr>
          <a:xfrm>
            <a:off x="8261954" y="1687780"/>
            <a:ext cx="3137644" cy="1892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/>
              </a:buClr>
              <a:buFont typeface="Wingdings 2" pitchFamily="18" charset="2"/>
              <a:buChar char="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6858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11430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16002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20574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cs-CZ" sz="1600" dirty="0"/>
              <a:t>Klienti by </a:t>
            </a:r>
            <a:r>
              <a:rPr lang="cs-CZ" sz="1600" dirty="0" err="1"/>
              <a:t>multibanking</a:t>
            </a:r>
            <a:r>
              <a:rPr lang="cs-CZ" sz="1600" dirty="0"/>
              <a:t> využívali hlavně </a:t>
            </a:r>
            <a:r>
              <a:rPr lang="cs-CZ" sz="1600" b="1" dirty="0"/>
              <a:t>prostřednictvím banky</a:t>
            </a:r>
            <a:r>
              <a:rPr lang="cs-CZ" sz="1600" dirty="0"/>
              <a:t>.</a:t>
            </a:r>
          </a:p>
          <a:p>
            <a:pPr lvl="1"/>
            <a:r>
              <a:rPr lang="cs-CZ" sz="1600" dirty="0"/>
              <a:t>Alternativním přístupům jsou nakloněni spíše mladí klienti s VŠ vzděláním.</a:t>
            </a:r>
          </a:p>
        </p:txBody>
      </p:sp>
    </p:spTree>
    <p:extLst>
      <p:ext uri="{BB962C8B-B14F-4D97-AF65-F5344CB8AC3E}">
        <p14:creationId xmlns:p14="http://schemas.microsoft.com/office/powerpoint/2010/main" val="353249596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28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BAFAEE2C-568A-45FB-BC85-574427CD44C4}"/>
              </a:ext>
            </a:extLst>
          </p:cNvPr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915424965"/>
              </p:ext>
            </p:extLst>
          </p:nvPr>
        </p:nvGraphicFramePr>
        <p:xfrm>
          <a:off x="2856021" y="730268"/>
          <a:ext cx="8007152" cy="59451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E0735439-51FA-46C7-8AA2-F72DB2EB81D7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252919" y="1123837"/>
            <a:ext cx="3137644" cy="4601183"/>
          </a:xfrm>
        </p:spPr>
        <p:txBody>
          <a:bodyPr/>
          <a:lstStyle/>
          <a:p>
            <a:r>
              <a:rPr lang="cs-CZ" dirty="0"/>
              <a:t>Proč nevyužít nebankovní firmy a startupy? </a:t>
            </a:r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15D2DF2F-33CF-45A9-BB26-975C99536FF0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>
          <a:xfrm>
            <a:off x="3390564" y="6356350"/>
            <a:ext cx="7055308" cy="365125"/>
          </a:xfrm>
        </p:spPr>
        <p:txBody>
          <a:bodyPr/>
          <a:lstStyle/>
          <a:p>
            <a:r>
              <a:rPr lang="cs-CZ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Proč byste nevyužili aplikace nebankovních firem a fintech startupů?? 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/ N = </a:t>
            </a:r>
            <a:r>
              <a:rPr lang="cs-CZ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204</a:t>
            </a:r>
            <a:endParaRPr lang="en-US" sz="900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8630EF88-179D-4E67-B798-722DDAD1937D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22</a:t>
            </a:fld>
            <a:endParaRPr lang="en-US" dirty="0"/>
          </a:p>
        </p:txBody>
      </p:sp>
      <p:pic>
        <p:nvPicPr>
          <p:cNvPr id="12" name="Obrázek 11">
            <a:extLst>
              <a:ext uri="{FF2B5EF4-FFF2-40B4-BE49-F238E27FC236}">
                <a16:creationId xmlns:a16="http://schemas.microsoft.com/office/drawing/2014/main" id="{A8348426-E4C2-4A49-B1F2-A6B35BBB734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2184" y="1"/>
            <a:ext cx="1538149" cy="776305"/>
          </a:xfrm>
          <a:prstGeom prst="rect">
            <a:avLst/>
          </a:prstGeom>
        </p:spPr>
      </p:pic>
      <p:sp>
        <p:nvSpPr>
          <p:cNvPr id="13" name="Zástupný symbol pro obsah 2">
            <a:extLst>
              <a:ext uri="{FF2B5EF4-FFF2-40B4-BE49-F238E27FC236}">
                <a16:creationId xmlns:a16="http://schemas.microsoft.com/office/drawing/2014/main" id="{0D3A111C-5C4A-444C-A507-0BCFAC60434A}"/>
              </a:ext>
            </a:extLst>
          </p:cNvPr>
          <p:cNvSpPr txBox="1">
            <a:spLocks/>
          </p:cNvSpPr>
          <p:nvPr/>
        </p:nvSpPr>
        <p:spPr>
          <a:xfrm>
            <a:off x="8526195" y="3200117"/>
            <a:ext cx="3276337" cy="1892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/>
              </a:buClr>
              <a:buFont typeface="Wingdings 2" pitchFamily="18" charset="2"/>
              <a:buChar char="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6858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11430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16002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20574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502920" lvl="1" indent="0">
              <a:buNone/>
            </a:pPr>
            <a:r>
              <a:rPr lang="cs-CZ" sz="1600" b="1" dirty="0"/>
              <a:t>Bariérou pro využívání nebankovních firem a startupů je</a:t>
            </a:r>
          </a:p>
          <a:p>
            <a:pPr lvl="1"/>
            <a:r>
              <a:rPr lang="cs-CZ" sz="1600" dirty="0"/>
              <a:t>především nedůvěra </a:t>
            </a:r>
            <a:br>
              <a:rPr lang="cs-CZ" sz="1600" dirty="0"/>
            </a:br>
            <a:r>
              <a:rPr lang="cs-CZ" sz="1600" dirty="0"/>
              <a:t>z hlediska bezpečnosti a</a:t>
            </a:r>
          </a:p>
          <a:p>
            <a:pPr lvl="1"/>
            <a:r>
              <a:rPr lang="cs-CZ" sz="1600" dirty="0"/>
              <a:t>neochota sdílet informace o financích s „někým cizím“.</a:t>
            </a:r>
          </a:p>
        </p:txBody>
      </p:sp>
    </p:spTree>
    <p:extLst>
      <p:ext uri="{BB962C8B-B14F-4D97-AF65-F5344CB8AC3E}">
        <p14:creationId xmlns:p14="http://schemas.microsoft.com/office/powerpoint/2010/main" val="194367736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1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E0735439-51FA-46C7-8AA2-F72DB2EB81D7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252919" y="1123837"/>
            <a:ext cx="3137644" cy="4601183"/>
          </a:xfrm>
        </p:spPr>
        <p:txBody>
          <a:bodyPr/>
          <a:lstStyle/>
          <a:p>
            <a:r>
              <a:rPr lang="cs-CZ" dirty="0"/>
              <a:t>Je </a:t>
            </a:r>
            <a:r>
              <a:rPr lang="cs-CZ" dirty="0" err="1"/>
              <a:t>multibanking</a:t>
            </a:r>
            <a:r>
              <a:rPr lang="cs-CZ" dirty="0"/>
              <a:t> přínosná novinka? </a:t>
            </a:r>
          </a:p>
        </p:txBody>
      </p:sp>
      <p:sp>
        <p:nvSpPr>
          <p:cNvPr id="3" name="Zástupný symbol pro obsah 2">
            <a:extLst>
              <a:ext uri="{FF2B5EF4-FFF2-40B4-BE49-F238E27FC236}">
                <a16:creationId xmlns:a16="http://schemas.microsoft.com/office/drawing/2014/main" id="{ADAD581F-239E-4B60-B5F5-2B33E11E62AB}"/>
              </a:ext>
            </a:extLst>
          </p:cNvPr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3721371" y="823364"/>
            <a:ext cx="7315200" cy="748514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cs-CZ" sz="1600" b="1" dirty="0"/>
              <a:t>Ačkoliv klienti tvrdí, že </a:t>
            </a:r>
            <a:r>
              <a:rPr lang="cs-CZ" sz="1600" b="1" dirty="0" err="1"/>
              <a:t>multibanking</a:t>
            </a:r>
            <a:r>
              <a:rPr lang="cs-CZ" sz="1600" b="1" dirty="0"/>
              <a:t> nepotřebují, považují ho za přínosnou novinku v platebním styku.</a:t>
            </a:r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15D2DF2F-33CF-45A9-BB26-975C99536FF0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>
          <a:xfrm>
            <a:off x="3390564" y="6356349"/>
            <a:ext cx="7062386" cy="365125"/>
          </a:xfrm>
        </p:spPr>
        <p:txBody>
          <a:bodyPr/>
          <a:lstStyle/>
          <a:p>
            <a:r>
              <a:rPr lang="cs-CZ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Vnímáte </a:t>
            </a:r>
            <a:r>
              <a:rPr lang="cs-CZ" sz="9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multibanking</a:t>
            </a:r>
            <a:r>
              <a:rPr lang="cs-CZ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jako přínosnou novinku v platebním styku?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/ N = </a:t>
            </a:r>
            <a:r>
              <a:rPr lang="cs-CZ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1011</a:t>
            </a:r>
            <a:endParaRPr lang="en-US" sz="900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8630EF88-179D-4E67-B798-722DDAD1937D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23</a:t>
            </a:fld>
            <a:endParaRPr lang="en-US" dirty="0"/>
          </a:p>
        </p:txBody>
      </p:sp>
      <p:graphicFrame>
        <p:nvGraphicFramePr>
          <p:cNvPr id="10" name="Graf 9">
            <a:extLst>
              <a:ext uri="{FF2B5EF4-FFF2-40B4-BE49-F238E27FC236}">
                <a16:creationId xmlns:a16="http://schemas.microsoft.com/office/drawing/2014/main" id="{B1C1007F-0FFA-41B3-891F-62D47178EB3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16579625"/>
              </p:ext>
            </p:extLst>
          </p:nvPr>
        </p:nvGraphicFramePr>
        <p:xfrm>
          <a:off x="3795165" y="1472751"/>
          <a:ext cx="6217422" cy="44668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1" name="Graf 10">
            <a:extLst>
              <a:ext uri="{FF2B5EF4-FFF2-40B4-BE49-F238E27FC236}">
                <a16:creationId xmlns:a16="http://schemas.microsoft.com/office/drawing/2014/main" id="{740689B5-6F89-4D0F-817A-2E6E3955D1B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84196695"/>
              </p:ext>
            </p:extLst>
          </p:nvPr>
        </p:nvGraphicFramePr>
        <p:xfrm>
          <a:off x="9126593" y="3126528"/>
          <a:ext cx="2652713" cy="11916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8" name="Pravá složená závorka 7"/>
          <p:cNvSpPr/>
          <p:nvPr/>
        </p:nvSpPr>
        <p:spPr>
          <a:xfrm>
            <a:off x="7849273" y="2419519"/>
            <a:ext cx="1440000" cy="2767476"/>
          </a:xfrm>
          <a:prstGeom prst="rightBrace">
            <a:avLst>
              <a:gd name="adj1" fmla="val 31373"/>
              <a:gd name="adj2" fmla="val 49689"/>
            </a:avLst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cs-CZ" sz="20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12" name="Obrázek 11">
            <a:extLst>
              <a:ext uri="{FF2B5EF4-FFF2-40B4-BE49-F238E27FC236}">
                <a16:creationId xmlns:a16="http://schemas.microsoft.com/office/drawing/2014/main" id="{B13E3C6D-77C0-4A48-B7E7-AE207721AE86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2184" y="1"/>
            <a:ext cx="1538149" cy="776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645056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007E7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ovéPole 3">
            <a:extLst>
              <a:ext uri="{FF2B5EF4-FFF2-40B4-BE49-F238E27FC236}">
                <a16:creationId xmlns:a16="http://schemas.microsoft.com/office/drawing/2014/main" id="{84E19AEC-BB39-4BD2-8B80-81233EB12169}"/>
              </a:ext>
            </a:extLst>
          </p:cNvPr>
          <p:cNvSpPr txBox="1"/>
          <p:nvPr/>
        </p:nvSpPr>
        <p:spPr>
          <a:xfrm>
            <a:off x="0" y="2809758"/>
            <a:ext cx="121920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spcBef>
                <a:spcPts val="1200"/>
              </a:spcBef>
            </a:pPr>
            <a:r>
              <a:rPr lang="cs-CZ" sz="5400" b="1" dirty="0">
                <a:solidFill>
                  <a:schemeClr val="bg1"/>
                </a:solidFill>
                <a:latin typeface="Sansation" panose="02000000000000000000" pitchFamily="2" charset="0"/>
              </a:rPr>
              <a:t>Čerpání služeb státu elektronicky</a:t>
            </a:r>
            <a:endParaRPr lang="cs-CZ" sz="5400" dirty="0">
              <a:solidFill>
                <a:schemeClr val="bg1"/>
              </a:solidFill>
              <a:latin typeface="Sansation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464900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16EC8A9-6492-4688-8AAF-F18B1D753E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919" y="1123837"/>
            <a:ext cx="3135260" cy="4601183"/>
          </a:xfrm>
        </p:spPr>
        <p:txBody>
          <a:bodyPr>
            <a:normAutofit/>
          </a:bodyPr>
          <a:lstStyle/>
          <a:p>
            <a:r>
              <a:rPr lang="cs-CZ" sz="3200" b="1" dirty="0">
                <a:solidFill>
                  <a:schemeClr val="bg1"/>
                </a:solidFill>
              </a:rPr>
              <a:t>Čerpat služby státu </a:t>
            </a:r>
            <a:r>
              <a:rPr lang="cs-CZ" sz="3200" dirty="0">
                <a:solidFill>
                  <a:schemeClr val="bg1"/>
                </a:solidFill>
              </a:rPr>
              <a:t>a ovládat všechny účty z jednoho místa. To by </a:t>
            </a:r>
            <a:r>
              <a:rPr lang="cs-CZ" sz="3200" dirty="0"/>
              <a:t>klienti </a:t>
            </a:r>
            <a:r>
              <a:rPr lang="cs-CZ" sz="3200" dirty="0">
                <a:solidFill>
                  <a:schemeClr val="bg1"/>
                </a:solidFill>
              </a:rPr>
              <a:t>ve svém</a:t>
            </a:r>
            <a:br>
              <a:rPr lang="cs-CZ" sz="3200" dirty="0"/>
            </a:br>
            <a:r>
              <a:rPr lang="cs-CZ" sz="3200" dirty="0"/>
              <a:t>el. bankovnictví uvítali</a:t>
            </a:r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F4A2BE2-4B54-4AE9-8742-49A0B6C750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88179" y="6356350"/>
            <a:ext cx="8267086" cy="365125"/>
          </a:xfrm>
        </p:spPr>
        <p:txBody>
          <a:bodyPr/>
          <a:lstStyle/>
          <a:p>
            <a:r>
              <a:rPr lang="en-US" sz="9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Které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z </a:t>
            </a:r>
            <a:r>
              <a:rPr lang="en-US" sz="9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následujících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en-US" sz="9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možností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en-US" sz="9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chcete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en-US" sz="9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ve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en-US" sz="9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svém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en-US" sz="9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elektronickém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en-US" sz="9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bankovnictví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en-US" sz="9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určitě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en-US" sz="9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mít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? )?/ N =</a:t>
            </a:r>
            <a:r>
              <a:rPr lang="cs-CZ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945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cs-CZ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webový prohlížeč a N = 511 mobilní aplikace</a:t>
            </a:r>
            <a:endParaRPr lang="en-US" sz="900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4140C0B9-479D-4CAC-9209-B57B50FC88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25</a:t>
            </a:fld>
            <a:endParaRPr lang="en-US" dirty="0"/>
          </a:p>
        </p:txBody>
      </p:sp>
      <p:pic>
        <p:nvPicPr>
          <p:cNvPr id="12" name="Obrázek 11">
            <a:extLst>
              <a:ext uri="{FF2B5EF4-FFF2-40B4-BE49-F238E27FC236}">
                <a16:creationId xmlns:a16="http://schemas.microsoft.com/office/drawing/2014/main" id="{BEEE0F01-3777-4276-8B9C-0CE04569954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2184" y="1"/>
            <a:ext cx="1538149" cy="776305"/>
          </a:xfrm>
          <a:prstGeom prst="rect">
            <a:avLst/>
          </a:prstGeom>
        </p:spPr>
      </p:pic>
      <p:graphicFrame>
        <p:nvGraphicFramePr>
          <p:cNvPr id="14" name="Graf 13">
            <a:extLst>
              <a:ext uri="{FF2B5EF4-FFF2-40B4-BE49-F238E27FC236}">
                <a16:creationId xmlns:a16="http://schemas.microsoft.com/office/drawing/2014/main" id="{2CBDBB07-4694-4396-BF3F-81C45EB240E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19787965"/>
              </p:ext>
            </p:extLst>
          </p:nvPr>
        </p:nvGraphicFramePr>
        <p:xfrm>
          <a:off x="3503597" y="776306"/>
          <a:ext cx="8046719" cy="53482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47428428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Šipka: zahnutá doprava 11">
            <a:extLst>
              <a:ext uri="{FF2B5EF4-FFF2-40B4-BE49-F238E27FC236}">
                <a16:creationId xmlns:a16="http://schemas.microsoft.com/office/drawing/2014/main" id="{00CE3BF5-6EA1-4B8E-B680-B6E281CB8DBB}"/>
              </a:ext>
            </a:extLst>
          </p:cNvPr>
          <p:cNvSpPr/>
          <p:nvPr/>
        </p:nvSpPr>
        <p:spPr>
          <a:xfrm>
            <a:off x="4607380" y="3705726"/>
            <a:ext cx="1207797" cy="959872"/>
          </a:xfrm>
          <a:prstGeom prst="curvedRightArrow">
            <a:avLst>
              <a:gd name="adj1" fmla="val 25000"/>
              <a:gd name="adj2" fmla="val 50000"/>
              <a:gd name="adj3" fmla="val 25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chemeClr val="tx1"/>
              </a:solidFill>
            </a:endParaRPr>
          </a:p>
        </p:txBody>
      </p:sp>
      <p:sp>
        <p:nvSpPr>
          <p:cNvPr id="9" name="Šipka: ohnutá 8">
            <a:extLst>
              <a:ext uri="{FF2B5EF4-FFF2-40B4-BE49-F238E27FC236}">
                <a16:creationId xmlns:a16="http://schemas.microsoft.com/office/drawing/2014/main" id="{CA30FCCF-709B-40BE-B47A-1BA9E05C7089}"/>
              </a:ext>
            </a:extLst>
          </p:cNvPr>
          <p:cNvSpPr/>
          <p:nvPr/>
        </p:nvSpPr>
        <p:spPr>
          <a:xfrm>
            <a:off x="5858238" y="866662"/>
            <a:ext cx="1933575" cy="514350"/>
          </a:xfrm>
          <a:prstGeom prst="bentArrow">
            <a:avLst/>
          </a:prstGeom>
          <a:solidFill>
            <a:srgbClr val="007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chemeClr val="tx1"/>
              </a:solidFill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6965A1A9-A75F-4A03-AF31-02BE721527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Služby od státu elektronicky?</a:t>
            </a:r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060933C8-2756-4370-B932-84F333AC22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407343" y="6356350"/>
            <a:ext cx="6077381" cy="365125"/>
          </a:xfrm>
        </p:spPr>
        <p:txBody>
          <a:bodyPr/>
          <a:lstStyle/>
          <a:p>
            <a:r>
              <a:rPr lang="en-US" sz="9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Využíváte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en-US" sz="9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možnost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en-US" sz="9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čerpat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en-US" sz="9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služby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od </a:t>
            </a:r>
            <a:r>
              <a:rPr lang="en-US" sz="9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státu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en-US" sz="9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elektronicky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(</a:t>
            </a:r>
            <a:r>
              <a:rPr lang="en-US" sz="9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např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. </a:t>
            </a:r>
            <a:r>
              <a:rPr lang="en-US" sz="9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portál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en-US" sz="9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občana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)?</a:t>
            </a:r>
            <a:r>
              <a:rPr lang="cs-CZ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 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/</a:t>
            </a:r>
            <a:r>
              <a:rPr lang="cs-CZ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N = </a:t>
            </a:r>
            <a:r>
              <a:rPr lang="cs-CZ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1011</a:t>
            </a:r>
            <a:endParaRPr lang="en-US" sz="900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74A62C50-EE74-4A96-99CA-DDDD3F5F82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26</a:t>
            </a:fld>
            <a:endParaRPr lang="en-US" dirty="0"/>
          </a:p>
        </p:txBody>
      </p:sp>
      <p:graphicFrame>
        <p:nvGraphicFramePr>
          <p:cNvPr id="7" name="Zástupný obsah 6">
            <a:extLst>
              <a:ext uri="{FF2B5EF4-FFF2-40B4-BE49-F238E27FC236}">
                <a16:creationId xmlns:a16="http://schemas.microsoft.com/office/drawing/2014/main" id="{121CF9AA-B8C0-46DF-88A7-FEFBC357FDD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952621006"/>
              </p:ext>
            </p:extLst>
          </p:nvPr>
        </p:nvGraphicFramePr>
        <p:xfrm>
          <a:off x="1726660" y="587140"/>
          <a:ext cx="7332662" cy="39559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TextovéPole 7">
            <a:extLst>
              <a:ext uri="{FF2B5EF4-FFF2-40B4-BE49-F238E27FC236}">
                <a16:creationId xmlns:a16="http://schemas.microsoft.com/office/drawing/2014/main" id="{7F527B81-D3CC-4C58-9E70-7023F7430D16}"/>
              </a:ext>
            </a:extLst>
          </p:cNvPr>
          <p:cNvSpPr txBox="1"/>
          <p:nvPr/>
        </p:nvSpPr>
        <p:spPr>
          <a:xfrm>
            <a:off x="4386427" y="2270266"/>
            <a:ext cx="142875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yužívání služeb od státu elektronicky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2389D3A6-7AC2-4EE0-A049-F580A5EF3A8D}"/>
              </a:ext>
            </a:extLst>
          </p:cNvPr>
          <p:cNvSpPr txBox="1"/>
          <p:nvPr/>
        </p:nvSpPr>
        <p:spPr>
          <a:xfrm>
            <a:off x="7876473" y="693663"/>
            <a:ext cx="397954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85 % datová schránka </a:t>
            </a:r>
            <a:r>
              <a:rPr lang="cs-CZ" b="1" i="1" dirty="0"/>
              <a:t>(= 8 % ze všech)</a:t>
            </a:r>
          </a:p>
          <a:p>
            <a:r>
              <a:rPr lang="cs-CZ" b="1" dirty="0"/>
              <a:t>15 % e-občanka (</a:t>
            </a:r>
            <a:r>
              <a:rPr lang="cs-CZ" b="1" i="1" dirty="0"/>
              <a:t>=1 % ze všech</a:t>
            </a:r>
            <a:r>
              <a:rPr lang="cs-CZ" b="1" dirty="0"/>
              <a:t>)</a:t>
            </a:r>
          </a:p>
        </p:txBody>
      </p:sp>
      <p:graphicFrame>
        <p:nvGraphicFramePr>
          <p:cNvPr id="11" name="Graf 10">
            <a:extLst>
              <a:ext uri="{FF2B5EF4-FFF2-40B4-BE49-F238E27FC236}">
                <a16:creationId xmlns:a16="http://schemas.microsoft.com/office/drawing/2014/main" id="{9BB2158E-9578-494C-B3CD-5D4209F5629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20477984"/>
              </p:ext>
            </p:extLst>
          </p:nvPr>
        </p:nvGraphicFramePr>
        <p:xfrm>
          <a:off x="5858238" y="3622293"/>
          <a:ext cx="5755984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3" name="TextovéPole 12">
            <a:extLst>
              <a:ext uri="{FF2B5EF4-FFF2-40B4-BE49-F238E27FC236}">
                <a16:creationId xmlns:a16="http://schemas.microsoft.com/office/drawing/2014/main" id="{5B734471-70FE-4984-865F-BB03813759B8}"/>
              </a:ext>
            </a:extLst>
          </p:cNvPr>
          <p:cNvSpPr txBox="1"/>
          <p:nvPr/>
        </p:nvSpPr>
        <p:spPr>
          <a:xfrm>
            <a:off x="6941327" y="1854768"/>
            <a:ext cx="4672895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Je patrné, že zásadní problém je v informovanosti </a:t>
            </a:r>
            <a:br>
              <a:rPr lang="cs-CZ" sz="16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cs-CZ" sz="16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 to ve dvou krocích</a:t>
            </a:r>
          </a:p>
          <a:p>
            <a:pPr marL="800100" lvl="1" indent="-342900">
              <a:buFont typeface="+mj-lt"/>
              <a:buAutoNum type="arabicPeriod"/>
            </a:pPr>
            <a:r>
              <a:rPr lang="cs-CZ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Obecně, že už v ČR existuje možnost elektronické komunikace</a:t>
            </a:r>
          </a:p>
          <a:p>
            <a:pPr marL="800100" lvl="1" indent="-342900">
              <a:buFont typeface="+mj-lt"/>
              <a:buAutoNum type="arabicPeriod"/>
            </a:pPr>
            <a:r>
              <a:rPr lang="cs-CZ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Že tato komunikace funguje a občan díky ní může nějaké služby využívat</a:t>
            </a:r>
          </a:p>
        </p:txBody>
      </p:sp>
    </p:spTree>
    <p:extLst>
      <p:ext uri="{BB962C8B-B14F-4D97-AF65-F5344CB8AC3E}">
        <p14:creationId xmlns:p14="http://schemas.microsoft.com/office/powerpoint/2010/main" val="78945962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3DA623E-DDE3-4797-A365-5900ACC7DE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918" y="1123837"/>
            <a:ext cx="3137981" cy="4601183"/>
          </a:xfrm>
        </p:spPr>
        <p:txBody>
          <a:bodyPr>
            <a:normAutofit/>
          </a:bodyPr>
          <a:lstStyle/>
          <a:p>
            <a:r>
              <a:rPr lang="cs-CZ" sz="3300" b="1" dirty="0"/>
              <a:t>Přihlašovací údaje do internetového bankovnictví</a:t>
            </a:r>
            <a:r>
              <a:rPr lang="cs-CZ" sz="3300" dirty="0"/>
              <a:t> jako možný vstup pro čerpání služeb státu?</a:t>
            </a:r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D65D3CAC-9572-4E40-AF4A-535535903A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90899" y="6356350"/>
            <a:ext cx="8250767" cy="365125"/>
          </a:xfrm>
        </p:spPr>
        <p:txBody>
          <a:bodyPr/>
          <a:lstStyle/>
          <a:p>
            <a:r>
              <a:rPr lang="en-US" sz="9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Kdybyste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en-US" sz="9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měli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en-US" sz="9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možnost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en-US" sz="9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identifikovat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se k </a:t>
            </a:r>
            <a:r>
              <a:rPr lang="en-US" sz="9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čerpání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en-US" sz="9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služeb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od </a:t>
            </a:r>
            <a:r>
              <a:rPr lang="en-US" sz="9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státu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(</a:t>
            </a:r>
            <a:r>
              <a:rPr lang="en-US" sz="9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př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. </a:t>
            </a:r>
            <a:r>
              <a:rPr lang="en-US" sz="9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portál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en-US" sz="9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občana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), </a:t>
            </a:r>
            <a:r>
              <a:rPr lang="en-US" sz="9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popřípadě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en-US" sz="9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soukromých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fir</a:t>
            </a:r>
            <a:r>
              <a:rPr lang="cs-CZ" sz="9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erm</a:t>
            </a:r>
            <a:r>
              <a:rPr lang="cs-CZ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(plyn, </a:t>
            </a:r>
            <a:r>
              <a:rPr lang="cs-CZ" sz="9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eletřina</a:t>
            </a:r>
            <a:r>
              <a:rPr lang="cs-CZ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…) pomocí Vašich přihlašovacích údajů do internetového bankovnictví, využili byste ji?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/ N = </a:t>
            </a:r>
            <a:r>
              <a:rPr lang="cs-CZ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1011</a:t>
            </a:r>
            <a:endParaRPr lang="en-US" sz="900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74B1FA75-9689-4A69-A726-733769B1B7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27</a:t>
            </a:fld>
            <a:endParaRPr lang="en-US" dirty="0"/>
          </a:p>
        </p:txBody>
      </p:sp>
      <p:graphicFrame>
        <p:nvGraphicFramePr>
          <p:cNvPr id="7" name="Zástupný obsah 6">
            <a:extLst>
              <a:ext uri="{FF2B5EF4-FFF2-40B4-BE49-F238E27FC236}">
                <a16:creationId xmlns:a16="http://schemas.microsoft.com/office/drawing/2014/main" id="{5911601C-D63A-42F2-840B-B62E909F175E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55324443"/>
              </p:ext>
            </p:extLst>
          </p:nvPr>
        </p:nvGraphicFramePr>
        <p:xfrm>
          <a:off x="3868737" y="2714625"/>
          <a:ext cx="7772929" cy="32702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TextovéPole 7">
            <a:extLst>
              <a:ext uri="{FF2B5EF4-FFF2-40B4-BE49-F238E27FC236}">
                <a16:creationId xmlns:a16="http://schemas.microsoft.com/office/drawing/2014/main" id="{F940FB35-7E6E-4E05-86CD-46C517A522E6}"/>
              </a:ext>
            </a:extLst>
          </p:cNvPr>
          <p:cNvSpPr txBox="1"/>
          <p:nvPr/>
        </p:nvSpPr>
        <p:spPr>
          <a:xfrm>
            <a:off x="4625955" y="4349750"/>
            <a:ext cx="53819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4000" dirty="0">
                <a:solidFill>
                  <a:schemeClr val="bg1"/>
                </a:solidFill>
                <a:sym typeface="Wingdings" panose="05000000000000000000" pitchFamily="2" charset="2"/>
              </a:rPr>
              <a:t></a:t>
            </a:r>
            <a:endParaRPr lang="cs-CZ" sz="4000" dirty="0">
              <a:solidFill>
                <a:schemeClr val="bg1"/>
              </a:solidFill>
            </a:endParaRP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85DBD9FB-90D7-41B5-9DBE-B67994166D1E}"/>
              </a:ext>
            </a:extLst>
          </p:cNvPr>
          <p:cNvSpPr/>
          <p:nvPr/>
        </p:nvSpPr>
        <p:spPr>
          <a:xfrm>
            <a:off x="6459568" y="4258961"/>
            <a:ext cx="697627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4000" dirty="0">
                <a:solidFill>
                  <a:schemeClr val="bg1"/>
                </a:solidFill>
                <a:sym typeface="Webdings" panose="05030102010509060703" pitchFamily="18" charset="2"/>
              </a:rPr>
              <a:t></a:t>
            </a:r>
            <a:endParaRPr lang="cs-CZ" sz="4000" dirty="0">
              <a:solidFill>
                <a:schemeClr val="bg1"/>
              </a:solidFill>
            </a:endParaRP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D950AF74-7195-425E-9AAF-00F4B42F4993}"/>
              </a:ext>
            </a:extLst>
          </p:cNvPr>
          <p:cNvSpPr/>
          <p:nvPr/>
        </p:nvSpPr>
        <p:spPr>
          <a:xfrm>
            <a:off x="8388545" y="4267655"/>
            <a:ext cx="617477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4000" dirty="0">
                <a:solidFill>
                  <a:schemeClr val="bg1"/>
                </a:solidFill>
                <a:sym typeface="Wingdings" panose="05000000000000000000" pitchFamily="2" charset="2"/>
              </a:rPr>
              <a:t></a:t>
            </a:r>
            <a:endParaRPr lang="cs-CZ" sz="4000" dirty="0">
              <a:solidFill>
                <a:schemeClr val="bg1"/>
              </a:solidFill>
            </a:endParaRPr>
          </a:p>
        </p:txBody>
      </p:sp>
      <p:graphicFrame>
        <p:nvGraphicFramePr>
          <p:cNvPr id="11" name="Graf 10">
            <a:extLst>
              <a:ext uri="{FF2B5EF4-FFF2-40B4-BE49-F238E27FC236}">
                <a16:creationId xmlns:a16="http://schemas.microsoft.com/office/drawing/2014/main" id="{F74DF7AA-60F6-4B4E-AEB4-30ADADFB9DE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54147730"/>
              </p:ext>
            </p:extLst>
          </p:nvPr>
        </p:nvGraphicFramePr>
        <p:xfrm>
          <a:off x="8832701" y="957453"/>
          <a:ext cx="2871282" cy="22945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2" name="Řečová bublina: obdélníkový bublinový popisek 11">
            <a:extLst>
              <a:ext uri="{FF2B5EF4-FFF2-40B4-BE49-F238E27FC236}">
                <a16:creationId xmlns:a16="http://schemas.microsoft.com/office/drawing/2014/main" id="{061C1959-722E-49E3-90D2-C2A55EB9581A}"/>
              </a:ext>
            </a:extLst>
          </p:cNvPr>
          <p:cNvSpPr/>
          <p:nvPr/>
        </p:nvSpPr>
        <p:spPr>
          <a:xfrm>
            <a:off x="8739806" y="957454"/>
            <a:ext cx="2871282" cy="2218884"/>
          </a:xfrm>
          <a:prstGeom prst="wedgeRectCallout">
            <a:avLst>
              <a:gd name="adj1" fmla="val 20610"/>
              <a:gd name="adj2" fmla="val 86902"/>
            </a:avLst>
          </a:prstGeom>
          <a:noFill/>
          <a:ln w="285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7ABDC5A2-C7BD-4A39-8882-5F676C5828B6}"/>
              </a:ext>
            </a:extLst>
          </p:cNvPr>
          <p:cNvSpPr txBox="1"/>
          <p:nvPr/>
        </p:nvSpPr>
        <p:spPr>
          <a:xfrm>
            <a:off x="4586694" y="3251992"/>
            <a:ext cx="697627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00" dirty="0">
                <a:solidFill>
                  <a:schemeClr val="bg1"/>
                </a:solidFill>
              </a:rPr>
              <a:t>Muži a nejmladší generace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4256E67F-6A81-4114-B55D-5EABBEC61AFB}"/>
              </a:ext>
            </a:extLst>
          </p:cNvPr>
          <p:cNvSpPr txBox="1"/>
          <p:nvPr/>
        </p:nvSpPr>
        <p:spPr>
          <a:xfrm>
            <a:off x="3763478" y="762000"/>
            <a:ext cx="493125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Klienti si ve většině případů dovedou představit, že by se díky svým přihlašovacím údajům do internetového bankovnictví mohli bezpečně dostat také k vyřízení jiných služeb, které vyžadují přísnou autentizaci a jsou nyní ve správě státu nebo firem v oboru utility.</a:t>
            </a:r>
          </a:p>
        </p:txBody>
      </p:sp>
    </p:spTree>
    <p:extLst>
      <p:ext uri="{BB962C8B-B14F-4D97-AF65-F5344CB8AC3E}">
        <p14:creationId xmlns:p14="http://schemas.microsoft.com/office/powerpoint/2010/main" val="195469355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BF3BE45-CBC8-4A68-A0E5-6E390D202D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28</a:t>
            </a:fld>
            <a:endParaRPr lang="en-US" dirty="0"/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535E967E-9736-4245-957D-9A12EC59D00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8150" y="4552775"/>
            <a:ext cx="4404294" cy="2222850"/>
          </a:xfrm>
          <a:prstGeom prst="rect">
            <a:avLst/>
          </a:prstGeom>
        </p:spPr>
      </p:pic>
      <p:sp>
        <p:nvSpPr>
          <p:cNvPr id="8" name="Obdélník 7">
            <a:extLst>
              <a:ext uri="{FF2B5EF4-FFF2-40B4-BE49-F238E27FC236}">
                <a16:creationId xmlns:a16="http://schemas.microsoft.com/office/drawing/2014/main" id="{BD16C3F9-F7FD-4BF2-BBF4-5038B8FD18A1}"/>
              </a:ext>
            </a:extLst>
          </p:cNvPr>
          <p:cNvSpPr/>
          <p:nvPr/>
        </p:nvSpPr>
        <p:spPr>
          <a:xfrm>
            <a:off x="1" y="0"/>
            <a:ext cx="175496" cy="6858000"/>
          </a:xfrm>
          <a:prstGeom prst="rect">
            <a:avLst/>
          </a:prstGeom>
          <a:solidFill>
            <a:srgbClr val="007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F14B6F2A-F0B8-4BD5-A033-102E6E0EC32F}"/>
              </a:ext>
            </a:extLst>
          </p:cNvPr>
          <p:cNvSpPr txBox="1"/>
          <p:nvPr/>
        </p:nvSpPr>
        <p:spPr>
          <a:xfrm>
            <a:off x="175497" y="2312355"/>
            <a:ext cx="12016502" cy="9202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cs-CZ" sz="4000" b="1" dirty="0">
                <a:solidFill>
                  <a:srgbClr val="007E79"/>
                </a:solidFill>
                <a:latin typeface="Sansation Light" panose="02000000000000000000" pitchFamily="2" charset="0"/>
              </a:rPr>
              <a:t>Děkujeme za pozornost!</a:t>
            </a:r>
            <a:endParaRPr lang="cs-CZ" sz="7200" b="1" dirty="0">
              <a:solidFill>
                <a:srgbClr val="007E79"/>
              </a:solidFill>
              <a:latin typeface="Sansation" panose="02000503000000020004" pitchFamily="2" charset="-18"/>
            </a:endParaRPr>
          </a:p>
        </p:txBody>
      </p:sp>
      <p:pic>
        <p:nvPicPr>
          <p:cNvPr id="8194" name="Picture 2" descr="VÃ½sledek obrÃ¡zku pro sc&amp;c">
            <a:extLst>
              <a:ext uri="{FF2B5EF4-FFF2-40B4-BE49-F238E27FC236}">
                <a16:creationId xmlns:a16="http://schemas.microsoft.com/office/drawing/2014/main" id="{1F69AD0D-A013-46D6-8AFE-E4D2564DE0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4000" y="5306097"/>
            <a:ext cx="2609850" cy="9221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437418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007E7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ovéPole 3">
            <a:extLst>
              <a:ext uri="{FF2B5EF4-FFF2-40B4-BE49-F238E27FC236}">
                <a16:creationId xmlns:a16="http://schemas.microsoft.com/office/drawing/2014/main" id="{84E19AEC-BB39-4BD2-8B80-81233EB12169}"/>
              </a:ext>
            </a:extLst>
          </p:cNvPr>
          <p:cNvSpPr txBox="1"/>
          <p:nvPr/>
        </p:nvSpPr>
        <p:spPr>
          <a:xfrm>
            <a:off x="647700" y="2508844"/>
            <a:ext cx="11544300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lvl="0" indent="-3429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cs-CZ" sz="2400" b="1" dirty="0">
                <a:solidFill>
                  <a:schemeClr val="bg1"/>
                </a:solidFill>
                <a:latin typeface="Sansation" panose="02000000000000000000" pitchFamily="2" charset="0"/>
              </a:rPr>
              <a:t>Helena Zavázalová </a:t>
            </a:r>
            <a:r>
              <a:rPr lang="cs-CZ" sz="2400" dirty="0">
                <a:solidFill>
                  <a:schemeClr val="bg1"/>
                </a:solidFill>
                <a:latin typeface="Sansation" panose="02000000000000000000" pitchFamily="2" charset="0"/>
              </a:rPr>
              <a:t>/ poradkyně ČBA pro fintech a digitalizaci</a:t>
            </a:r>
          </a:p>
          <a:p>
            <a:pPr marL="342900" lvl="0" indent="-3429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cs-CZ" sz="2400" b="1" dirty="0">
                <a:solidFill>
                  <a:schemeClr val="bg1"/>
                </a:solidFill>
                <a:latin typeface="Sansation" panose="02000000000000000000" pitchFamily="2" charset="0"/>
              </a:rPr>
              <a:t>Jana Hamanová </a:t>
            </a:r>
            <a:r>
              <a:rPr lang="cs-CZ" sz="2400" dirty="0">
                <a:solidFill>
                  <a:schemeClr val="bg1"/>
                </a:solidFill>
                <a:latin typeface="Sansation" panose="02000000000000000000" pitchFamily="2" charset="0"/>
              </a:rPr>
              <a:t>/ ředitelka výzkumu agentury SC&amp;C</a:t>
            </a:r>
          </a:p>
        </p:txBody>
      </p:sp>
    </p:spTree>
    <p:extLst>
      <p:ext uri="{BB962C8B-B14F-4D97-AF65-F5344CB8AC3E}">
        <p14:creationId xmlns:p14="http://schemas.microsoft.com/office/powerpoint/2010/main" val="219821211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007E7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ovéPole 3">
            <a:extLst>
              <a:ext uri="{FF2B5EF4-FFF2-40B4-BE49-F238E27FC236}">
                <a16:creationId xmlns:a16="http://schemas.microsoft.com/office/drawing/2014/main" id="{84E19AEC-BB39-4BD2-8B80-81233EB12169}"/>
              </a:ext>
            </a:extLst>
          </p:cNvPr>
          <p:cNvSpPr txBox="1"/>
          <p:nvPr/>
        </p:nvSpPr>
        <p:spPr>
          <a:xfrm>
            <a:off x="542223" y="1416389"/>
            <a:ext cx="11107554" cy="36009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cs-CZ" sz="2000" dirty="0">
              <a:solidFill>
                <a:schemeClr val="bg1"/>
              </a:solidFill>
              <a:latin typeface="Sansation"/>
            </a:endParaRPr>
          </a:p>
          <a:p>
            <a:r>
              <a:rPr lang="cs-CZ" sz="2400" b="1" dirty="0">
                <a:solidFill>
                  <a:schemeClr val="bg1"/>
                </a:solidFill>
                <a:latin typeface="Sansation"/>
              </a:rPr>
              <a:t>Terminologie využita při průzkumu jakožto i v této prezentaci</a:t>
            </a:r>
          </a:p>
          <a:p>
            <a:endParaRPr lang="cs-CZ" sz="2400" dirty="0">
              <a:solidFill>
                <a:schemeClr val="bg1"/>
              </a:solidFill>
              <a:latin typeface="Sansation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cs-CZ" sz="2000" b="1" dirty="0">
                <a:solidFill>
                  <a:schemeClr val="bg1"/>
                </a:solidFill>
                <a:latin typeface="Sansation"/>
              </a:rPr>
              <a:t>Elektronické bankovnictví / e-banking </a:t>
            </a:r>
            <a:r>
              <a:rPr lang="cs-CZ" sz="2000" dirty="0">
                <a:solidFill>
                  <a:schemeClr val="bg1"/>
                </a:solidFill>
                <a:latin typeface="Sansation"/>
              </a:rPr>
              <a:t>=&gt; bankovnictví, na které přistupujete jakoukoli online cestou (webové stránky banky i mobilní aplikace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cs-CZ" sz="2000" dirty="0">
              <a:solidFill>
                <a:schemeClr val="bg1"/>
              </a:solidFill>
              <a:latin typeface="Sansation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cs-CZ" sz="2000" b="1" dirty="0">
                <a:solidFill>
                  <a:schemeClr val="bg1"/>
                </a:solidFill>
                <a:latin typeface="Sansation"/>
              </a:rPr>
              <a:t>Bankovní mobilní aplikace / mobilní bankovnictví</a:t>
            </a:r>
            <a:r>
              <a:rPr lang="cs-CZ" sz="2000" dirty="0">
                <a:solidFill>
                  <a:schemeClr val="bg1"/>
                </a:solidFill>
                <a:latin typeface="Sansation"/>
              </a:rPr>
              <a:t> =&gt; aplikace stažena do mobilního telefonu či tabletu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cs-CZ" sz="2000" dirty="0">
              <a:solidFill>
                <a:schemeClr val="bg1"/>
              </a:solidFill>
              <a:latin typeface="Sansation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cs-CZ" sz="2000" b="1" dirty="0">
                <a:solidFill>
                  <a:schemeClr val="bg1"/>
                </a:solidFill>
                <a:latin typeface="Sansation"/>
              </a:rPr>
              <a:t>Internetové bankovnictví =&gt;</a:t>
            </a:r>
            <a:r>
              <a:rPr lang="cs-CZ" sz="2000" dirty="0">
                <a:solidFill>
                  <a:schemeClr val="bg1"/>
                </a:solidFill>
                <a:latin typeface="Sansation"/>
              </a:rPr>
              <a:t> vstup přes webovou stránku banky zejména z PC, ale lze samozřejmě i z mobilního telefonu či tabletu</a:t>
            </a:r>
          </a:p>
        </p:txBody>
      </p:sp>
    </p:spTree>
    <p:extLst>
      <p:ext uri="{BB962C8B-B14F-4D97-AF65-F5344CB8AC3E}">
        <p14:creationId xmlns:p14="http://schemas.microsoft.com/office/powerpoint/2010/main" val="145066841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Nadpis 4">
            <a:extLst>
              <a:ext uri="{FF2B5EF4-FFF2-40B4-BE49-F238E27FC236}">
                <a16:creationId xmlns:a16="http://schemas.microsoft.com/office/drawing/2014/main" id="{E393D14F-0567-40A0-A7F9-BCA32D2E92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918" y="1123837"/>
            <a:ext cx="3125281" cy="4601183"/>
          </a:xfrm>
        </p:spPr>
        <p:txBody>
          <a:bodyPr/>
          <a:lstStyle/>
          <a:p>
            <a:r>
              <a:rPr lang="cs-CZ" dirty="0"/>
              <a:t>Které finanční služby může dělat někdo jiný než banka?</a:t>
            </a:r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DE21548E-DDD4-419D-AE28-B3AC949647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0D3FD236-75AB-41D8-BEF7-E0F27C55207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2184" y="1"/>
            <a:ext cx="1538149" cy="776305"/>
          </a:xfrm>
          <a:prstGeom prst="rect">
            <a:avLst/>
          </a:prstGeom>
        </p:spPr>
      </p:pic>
      <p:graphicFrame>
        <p:nvGraphicFramePr>
          <p:cNvPr id="8" name="Graf 7">
            <a:extLst>
              <a:ext uri="{FF2B5EF4-FFF2-40B4-BE49-F238E27FC236}">
                <a16:creationId xmlns:a16="http://schemas.microsoft.com/office/drawing/2014/main" id="{43591291-8B24-4FCE-8329-F7101E50F2B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44372495"/>
              </p:ext>
            </p:extLst>
          </p:nvPr>
        </p:nvGraphicFramePr>
        <p:xfrm>
          <a:off x="3590223" y="776306"/>
          <a:ext cx="6312392" cy="52815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3" name="Zástupný symbol pro zápatí 4">
            <a:extLst>
              <a:ext uri="{FF2B5EF4-FFF2-40B4-BE49-F238E27FC236}">
                <a16:creationId xmlns:a16="http://schemas.microsoft.com/office/drawing/2014/main" id="{96A9462F-E601-4D9B-8142-D2B207B475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590223" y="6356349"/>
            <a:ext cx="5911517" cy="365125"/>
          </a:xfrm>
        </p:spPr>
        <p:txBody>
          <a:bodyPr/>
          <a:lstStyle/>
          <a:p>
            <a:r>
              <a:rPr lang="cs-CZ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Které finanční služby konkrétně byste svěřil někomu jinému než bance? 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/ N = </a:t>
            </a:r>
            <a:r>
              <a:rPr lang="cs-CZ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1011</a:t>
            </a:r>
            <a:endParaRPr lang="en-US" sz="900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4" name="Zástupný obsah 2">
            <a:extLst>
              <a:ext uri="{FF2B5EF4-FFF2-40B4-BE49-F238E27FC236}">
                <a16:creationId xmlns:a16="http://schemas.microsoft.com/office/drawing/2014/main" id="{99381D12-F628-4639-8842-8431AFE1F4E1}"/>
              </a:ext>
            </a:extLst>
          </p:cNvPr>
          <p:cNvSpPr txBox="1">
            <a:spLocks/>
          </p:cNvSpPr>
          <p:nvPr/>
        </p:nvSpPr>
        <p:spPr>
          <a:xfrm>
            <a:off x="8145559" y="2752825"/>
            <a:ext cx="3514112" cy="360352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/>
              </a:buClr>
              <a:buFont typeface="Wingdings 2" pitchFamily="18" charset="2"/>
              <a:buChar char="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6858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11430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16002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20574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cs-CZ" sz="1400" b="1" dirty="0"/>
              <a:t>Větší polovina klientů bank se neztotožňuje s převodem některých finančních služeb k jiným než bankovním institucím. </a:t>
            </a:r>
          </a:p>
          <a:p>
            <a:r>
              <a:rPr lang="cs-CZ" sz="1400" dirty="0"/>
              <a:t>Poradenství mimo banku vnímá jako možné téměř 40 % klientů mladších 65 let, senioři v necelých 20 %.</a:t>
            </a:r>
          </a:p>
          <a:p>
            <a:r>
              <a:rPr lang="cs-CZ" sz="1400" dirty="0"/>
              <a:t>Půjčování peněz mimo banku je představitelné pro 18 % mladých a pouze pro 2 % seniorů.</a:t>
            </a:r>
          </a:p>
          <a:p>
            <a:r>
              <a:rPr lang="cs-CZ" sz="1400" dirty="0"/>
              <a:t>Nejmladší generace dosahuje v případě spoření / investic až 21 %, oproti tomu senioři pouze 5 %.</a:t>
            </a:r>
          </a:p>
        </p:txBody>
      </p:sp>
    </p:spTree>
    <p:extLst>
      <p:ext uri="{BB962C8B-B14F-4D97-AF65-F5344CB8AC3E}">
        <p14:creationId xmlns:p14="http://schemas.microsoft.com/office/powerpoint/2010/main" val="255015172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5DF0290-BE8C-4B4A-B448-CA02923A61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Důvody, proč klient odmítá jiný subjekt než banku</a:t>
            </a:r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3E730439-7B55-4F82-8D4E-C99F24F388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656707" y="6350401"/>
            <a:ext cx="5911517" cy="365125"/>
          </a:xfrm>
        </p:spPr>
        <p:txBody>
          <a:bodyPr/>
          <a:lstStyle/>
          <a:p>
            <a:r>
              <a:rPr lang="cs-CZ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Proč byste je nesvěřili někomu jinému?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/ N = </a:t>
            </a:r>
            <a:r>
              <a:rPr lang="cs-CZ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496</a:t>
            </a:r>
            <a:endParaRPr lang="en-US" sz="900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586BDB61-6B15-42DA-AD04-5C52D1EC0F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6</a:t>
            </a:fld>
            <a:endParaRPr lang="en-US" dirty="0"/>
          </a:p>
        </p:txBody>
      </p:sp>
      <p:graphicFrame>
        <p:nvGraphicFramePr>
          <p:cNvPr id="7" name="Zástupný obsah 6">
            <a:extLst>
              <a:ext uri="{FF2B5EF4-FFF2-40B4-BE49-F238E27FC236}">
                <a16:creationId xmlns:a16="http://schemas.microsoft.com/office/drawing/2014/main" id="{23C94B95-DF96-478D-94A1-B81CD06F55BC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73582235"/>
              </p:ext>
            </p:extLst>
          </p:nvPr>
        </p:nvGraphicFramePr>
        <p:xfrm>
          <a:off x="3869268" y="1643929"/>
          <a:ext cx="7315200" cy="46011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Zástupný obsah 5">
            <a:extLst>
              <a:ext uri="{FF2B5EF4-FFF2-40B4-BE49-F238E27FC236}">
                <a16:creationId xmlns:a16="http://schemas.microsoft.com/office/drawing/2014/main" id="{E3D46DB1-E2D9-46DC-8451-1F6DD4EEFC8F}"/>
              </a:ext>
            </a:extLst>
          </p:cNvPr>
          <p:cNvSpPr txBox="1">
            <a:spLocks/>
          </p:cNvSpPr>
          <p:nvPr/>
        </p:nvSpPr>
        <p:spPr>
          <a:xfrm>
            <a:off x="3754967" y="632090"/>
            <a:ext cx="7979833" cy="13681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/>
              </a:buClr>
              <a:buFont typeface="Wingdings 2" pitchFamily="18" charset="2"/>
              <a:buChar char="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6858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11430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16002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20574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Font typeface="Wingdings 2" pitchFamily="18" charset="2"/>
              <a:buNone/>
            </a:pPr>
            <a:r>
              <a:rPr lang="cs-CZ" sz="1600" b="1" dirty="0">
                <a:latin typeface="+mn-lt"/>
              </a:rPr>
              <a:t>Zásadním důvodem k odmítnutí jiných než bankovních subjektů jsou obavy – ať už </a:t>
            </a:r>
            <a:br>
              <a:rPr lang="cs-CZ" sz="1600" b="1" dirty="0">
                <a:latin typeface="+mn-lt"/>
              </a:rPr>
            </a:br>
            <a:r>
              <a:rPr lang="cs-CZ" sz="1600" b="1" dirty="0">
                <a:latin typeface="+mn-lt"/>
              </a:rPr>
              <a:t>o zabezpečení nebo přímo o peníze. </a:t>
            </a:r>
          </a:p>
          <a:p>
            <a:pPr marL="0" indent="0">
              <a:lnSpc>
                <a:spcPct val="100000"/>
              </a:lnSpc>
              <a:buFont typeface="Wingdings 2" pitchFamily="18" charset="2"/>
              <a:buNone/>
            </a:pPr>
            <a:r>
              <a:rPr lang="cs-CZ" sz="1600" dirty="0">
                <a:latin typeface="+mn-lt"/>
              </a:rPr>
              <a:t>Obavy jsou silnější u nejmladších klientů, nejvzdělanější klienti výrazně častěji unikají </a:t>
            </a:r>
            <a:br>
              <a:rPr lang="cs-CZ" sz="1600" dirty="0">
                <a:latin typeface="+mn-lt"/>
              </a:rPr>
            </a:br>
            <a:r>
              <a:rPr lang="cs-CZ" sz="1600" dirty="0">
                <a:latin typeface="+mn-lt"/>
              </a:rPr>
              <a:t>k odpovědi, že nemají potřebu nebo prostě nechtějí svěřovat své finance jinam. 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4434E390-B34E-4E6D-B8A7-90F80AEEE0CC}"/>
              </a:ext>
            </a:extLst>
          </p:cNvPr>
          <p:cNvSpPr txBox="1"/>
          <p:nvPr/>
        </p:nvSpPr>
        <p:spPr>
          <a:xfrm>
            <a:off x="6350000" y="3081867"/>
            <a:ext cx="52493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dirty="0">
                <a:solidFill>
                  <a:schemeClr val="bg1"/>
                </a:solidFill>
              </a:rPr>
              <a:t>muži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F2BB32AE-6A68-4DF8-9588-06946F5FFB7A}"/>
              </a:ext>
            </a:extLst>
          </p:cNvPr>
          <p:cNvSpPr txBox="1"/>
          <p:nvPr/>
        </p:nvSpPr>
        <p:spPr>
          <a:xfrm>
            <a:off x="8119534" y="4436534"/>
            <a:ext cx="6942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dirty="0">
                <a:solidFill>
                  <a:schemeClr val="bg1"/>
                </a:solidFill>
              </a:rPr>
              <a:t>senioři</a:t>
            </a:r>
          </a:p>
        </p:txBody>
      </p:sp>
      <p:sp>
        <p:nvSpPr>
          <p:cNvPr id="11" name="Řečová bublina: oválný bublinový popisek 10">
            <a:extLst>
              <a:ext uri="{FF2B5EF4-FFF2-40B4-BE49-F238E27FC236}">
                <a16:creationId xmlns:a16="http://schemas.microsoft.com/office/drawing/2014/main" id="{498AC702-8D69-4B93-998A-347E87431EEF}"/>
              </a:ext>
            </a:extLst>
          </p:cNvPr>
          <p:cNvSpPr/>
          <p:nvPr/>
        </p:nvSpPr>
        <p:spPr>
          <a:xfrm>
            <a:off x="10329333" y="3358866"/>
            <a:ext cx="1405467" cy="1018401"/>
          </a:xfrm>
          <a:prstGeom prst="wedgeEllipseCallout">
            <a:avLst>
              <a:gd name="adj1" fmla="val -40166"/>
              <a:gd name="adj2" fmla="val 92429"/>
            </a:avLst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900" b="1" i="1" dirty="0">
                <a:solidFill>
                  <a:schemeClr val="tx1"/>
                </a:solidFill>
              </a:rPr>
              <a:t>Nechci, nemám potřebu, dělám si rád věci sám</a:t>
            </a:r>
          </a:p>
        </p:txBody>
      </p:sp>
    </p:spTree>
    <p:extLst>
      <p:ext uri="{BB962C8B-B14F-4D97-AF65-F5344CB8AC3E}">
        <p14:creationId xmlns:p14="http://schemas.microsoft.com/office/powerpoint/2010/main" val="136926134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007E7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ovéPole 3">
            <a:extLst>
              <a:ext uri="{FF2B5EF4-FFF2-40B4-BE49-F238E27FC236}">
                <a16:creationId xmlns:a16="http://schemas.microsoft.com/office/drawing/2014/main" id="{84E19AEC-BB39-4BD2-8B80-81233EB12169}"/>
              </a:ext>
            </a:extLst>
          </p:cNvPr>
          <p:cNvSpPr txBox="1"/>
          <p:nvPr/>
        </p:nvSpPr>
        <p:spPr>
          <a:xfrm>
            <a:off x="0" y="2809758"/>
            <a:ext cx="121920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spcBef>
                <a:spcPts val="1200"/>
              </a:spcBef>
            </a:pPr>
            <a:r>
              <a:rPr lang="cs-CZ" sz="5400" b="1" dirty="0">
                <a:solidFill>
                  <a:schemeClr val="bg1"/>
                </a:solidFill>
                <a:latin typeface="Sansation" panose="02000000000000000000" pitchFamily="2" charset="0"/>
              </a:rPr>
              <a:t>Elektronické bankovnictví</a:t>
            </a:r>
            <a:endParaRPr lang="cs-CZ" sz="5400" dirty="0">
              <a:solidFill>
                <a:schemeClr val="bg1"/>
              </a:solidFill>
              <a:latin typeface="Sansation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715997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02A76BC-00BA-499C-9D33-A7C183B94E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918" y="1123837"/>
            <a:ext cx="3068093" cy="4601183"/>
          </a:xfrm>
        </p:spPr>
        <p:txBody>
          <a:bodyPr/>
          <a:lstStyle/>
          <a:p>
            <a:r>
              <a:rPr lang="cs-CZ" dirty="0"/>
              <a:t>Nahradí </a:t>
            </a:r>
            <a:br>
              <a:rPr lang="cs-CZ" dirty="0"/>
            </a:br>
            <a:r>
              <a:rPr lang="cs-CZ" dirty="0"/>
              <a:t>el. bankovnictví běžné poradce?</a:t>
            </a:r>
          </a:p>
        </p:txBody>
      </p:sp>
      <p:sp>
        <p:nvSpPr>
          <p:cNvPr id="3" name="Zástupný symbol pro obsah 2">
            <a:extLst>
              <a:ext uri="{FF2B5EF4-FFF2-40B4-BE49-F238E27FC236}">
                <a16:creationId xmlns:a16="http://schemas.microsoft.com/office/drawing/2014/main" id="{223A4CE2-0876-429A-86A6-C6775DF57B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80295" y="899962"/>
            <a:ext cx="7315200" cy="1189430"/>
          </a:xfrm>
        </p:spPr>
        <p:txBody>
          <a:bodyPr anchor="t">
            <a:normAutofit/>
          </a:bodyPr>
          <a:lstStyle/>
          <a:p>
            <a:pPr marL="0" indent="0">
              <a:buNone/>
            </a:pPr>
            <a:r>
              <a:rPr lang="cs-CZ" sz="1600" b="1" dirty="0">
                <a:latin typeface="+mn-lt"/>
              </a:rPr>
              <a:t>Pro dvě třetiny klientů je náhrada pravděpodobná, naopak necelá desetina klientů to naprosto vylučuje.</a:t>
            </a:r>
          </a:p>
          <a:p>
            <a:pPr lvl="1"/>
            <a:r>
              <a:rPr lang="cs-CZ" sz="1400" dirty="0">
                <a:latin typeface="+mn-lt"/>
              </a:rPr>
              <a:t>Bariéra pro „komunikaci“ se strojem je především fakt, že bankéř dokáže ihned poradit </a:t>
            </a:r>
            <a:br>
              <a:rPr lang="cs-CZ" sz="1400" dirty="0">
                <a:latin typeface="+mn-lt"/>
              </a:rPr>
            </a:br>
            <a:r>
              <a:rPr lang="cs-CZ" sz="1400" dirty="0">
                <a:latin typeface="+mn-lt"/>
              </a:rPr>
              <a:t>a vysvětlit nejasnosti </a:t>
            </a:r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5AE2EBBB-D5C4-4FF1-8921-3A81458F34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691322" y="6356350"/>
            <a:ext cx="7493146" cy="365125"/>
          </a:xfrm>
        </p:spPr>
        <p:txBody>
          <a:bodyPr/>
          <a:lstStyle/>
          <a:p>
            <a:r>
              <a:rPr lang="en-US" sz="9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Může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en-US" sz="9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podle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en-US" sz="9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Vás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en-US" sz="9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elektronické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en-US" sz="9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bankovnictví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en-US" sz="9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kompletně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en-US" sz="9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nahradit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en-US" sz="9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běžné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en-US" sz="9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bankovní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en-US" sz="9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poradce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en-US" sz="9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na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en-US" sz="9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pobočkách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bank? / N </a:t>
            </a:r>
            <a:r>
              <a:rPr lang="cs-CZ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=964</a:t>
            </a:r>
            <a:endParaRPr lang="en-US" sz="900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CB77CAE2-7DA0-4C77-8549-512F667274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8</a:t>
            </a:fld>
            <a:endParaRPr lang="en-US" dirty="0"/>
          </a:p>
        </p:txBody>
      </p:sp>
      <p:graphicFrame>
        <p:nvGraphicFramePr>
          <p:cNvPr id="10" name="Graf 9">
            <a:extLst>
              <a:ext uri="{FF2B5EF4-FFF2-40B4-BE49-F238E27FC236}">
                <a16:creationId xmlns:a16="http://schemas.microsoft.com/office/drawing/2014/main" id="{3DA50FC8-15A2-47CE-A0CE-FAC60C0F0A2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8211065"/>
              </p:ext>
            </p:extLst>
          </p:nvPr>
        </p:nvGraphicFramePr>
        <p:xfrm>
          <a:off x="3780295" y="2152139"/>
          <a:ext cx="7115503" cy="38058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11" name="Obrázek 10">
            <a:extLst>
              <a:ext uri="{FF2B5EF4-FFF2-40B4-BE49-F238E27FC236}">
                <a16:creationId xmlns:a16="http://schemas.microsoft.com/office/drawing/2014/main" id="{557045B5-144C-4DE6-BA2F-70903167539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2184" y="1"/>
            <a:ext cx="1538149" cy="776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069684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Graf 9">
            <a:extLst>
              <a:ext uri="{FF2B5EF4-FFF2-40B4-BE49-F238E27FC236}">
                <a16:creationId xmlns:a16="http://schemas.microsoft.com/office/drawing/2014/main" id="{D4139544-DDBA-47F7-9490-FBAD99BB0F8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72215524"/>
              </p:ext>
            </p:extLst>
          </p:nvPr>
        </p:nvGraphicFramePr>
        <p:xfrm>
          <a:off x="4179787" y="905234"/>
          <a:ext cx="7985275" cy="50383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4F317557-C878-4B3C-87B0-35B444AD9D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919" y="1123837"/>
            <a:ext cx="2856041" cy="4601183"/>
          </a:xfrm>
        </p:spPr>
        <p:txBody>
          <a:bodyPr>
            <a:normAutofit/>
          </a:bodyPr>
          <a:lstStyle/>
          <a:p>
            <a:r>
              <a:rPr lang="cs-CZ" sz="3300" dirty="0"/>
              <a:t>Frekvence používání </a:t>
            </a:r>
            <a:br>
              <a:rPr lang="cs-CZ" sz="3300" dirty="0"/>
            </a:br>
            <a:r>
              <a:rPr lang="cs-CZ" sz="3300" dirty="0"/>
              <a:t>el. bankovnictví</a:t>
            </a:r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1A1182AA-39DD-4D03-9336-4D0FA85C34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584029" y="6356350"/>
            <a:ext cx="7661564" cy="365125"/>
          </a:xfrm>
        </p:spPr>
        <p:txBody>
          <a:bodyPr/>
          <a:lstStyle/>
          <a:p>
            <a:r>
              <a:rPr lang="en-US" sz="9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Jak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en-US" sz="9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často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en-US" sz="9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využíváte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en-US" sz="9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elektronické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en-US" sz="9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bankovnictví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? </a:t>
            </a:r>
            <a:r>
              <a:rPr lang="cs-CZ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/ N = </a:t>
            </a:r>
            <a:r>
              <a:rPr lang="cs-CZ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964</a:t>
            </a:r>
            <a:endParaRPr lang="en-US" sz="900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1E02FEE-4867-4459-B7FC-CCBDD0A693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8" name="Ovál 7">
            <a:extLst>
              <a:ext uri="{FF2B5EF4-FFF2-40B4-BE49-F238E27FC236}">
                <a16:creationId xmlns:a16="http://schemas.microsoft.com/office/drawing/2014/main" id="{7362E4A8-03BF-41E2-B435-35124514AEBE}"/>
              </a:ext>
            </a:extLst>
          </p:cNvPr>
          <p:cNvSpPr/>
          <p:nvPr/>
        </p:nvSpPr>
        <p:spPr>
          <a:xfrm>
            <a:off x="3713831" y="781804"/>
            <a:ext cx="4592771" cy="2057649"/>
          </a:xfrm>
          <a:prstGeom prst="ellipse">
            <a:avLst/>
          </a:prstGeom>
          <a:solidFill>
            <a:schemeClr val="bg1">
              <a:lumMod val="50000"/>
              <a:alpha val="12941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9" name="Obrázek 8">
            <a:extLst>
              <a:ext uri="{FF2B5EF4-FFF2-40B4-BE49-F238E27FC236}">
                <a16:creationId xmlns:a16="http://schemas.microsoft.com/office/drawing/2014/main" id="{A87FECD2-98BB-4B52-9F30-A683DF3F977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2184" y="1"/>
            <a:ext cx="1538149" cy="776305"/>
          </a:xfrm>
          <a:prstGeom prst="rect">
            <a:avLst/>
          </a:prstGeom>
        </p:spPr>
      </p:pic>
      <p:sp>
        <p:nvSpPr>
          <p:cNvPr id="11" name="Zástupný symbol pro obsah 2">
            <a:extLst>
              <a:ext uri="{FF2B5EF4-FFF2-40B4-BE49-F238E27FC236}">
                <a16:creationId xmlns:a16="http://schemas.microsoft.com/office/drawing/2014/main" id="{209BF8BF-71FF-4B04-B4AD-B674B44A41CC}"/>
              </a:ext>
            </a:extLst>
          </p:cNvPr>
          <p:cNvSpPr txBox="1">
            <a:spLocks/>
          </p:cNvSpPr>
          <p:nvPr/>
        </p:nvSpPr>
        <p:spPr>
          <a:xfrm>
            <a:off x="8576110" y="1365841"/>
            <a:ext cx="2947414" cy="131308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/>
              </a:buClr>
              <a:buFont typeface="Wingdings 2" pitchFamily="18" charset="2"/>
              <a:buChar char="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6858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11430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16002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20574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cs-CZ" sz="1400" dirty="0"/>
              <a:t>Pokud mám mobilní aplikaci, tak ji používám častěji než klasické internetové bankovnictví.</a:t>
            </a:r>
          </a:p>
        </p:txBody>
      </p:sp>
    </p:spTree>
    <p:extLst>
      <p:ext uri="{BB962C8B-B14F-4D97-AF65-F5344CB8AC3E}">
        <p14:creationId xmlns:p14="http://schemas.microsoft.com/office/powerpoint/2010/main" val="12835963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kOMmJIDPkuCCfjSHzyeC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9q6IMFNVUaGf8Rqtl.c3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c4YfcjC0ytnkiuMysgi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GinIFX.2EalLfGLpvPBX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kOMmJIDPkuCCfjSHzyeC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Jd9V7VuXEedPm1.J6gPo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LrEh.rwWkmtuUBTPgouz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GinIFX.2EalLfGLpvPBX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a7zyNbsKEeRdVAJPvHxd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kOMmJIDPkuCCfjSHzyeC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Jd9V7VuXEedPm1.J6gPo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GinIFX.2EalLfGLpvPBX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kOMmJIDPkuCCfjSHzyeC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I3Md1r.kySUDyPzC53u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Jd9V7VuXEedPm1.J6gPo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GinIFX.2EalLfGLpvPBXg"/>
</p:tagLst>
</file>

<file path=ppt/theme/theme1.xml><?xml version="1.0" encoding="utf-8"?>
<a:theme xmlns:a="http://schemas.openxmlformats.org/drawingml/2006/main" name="Rámeček">
  <a:themeElements>
    <a:clrScheme name="Frame">
      <a:dk1>
        <a:srgbClr val="000000"/>
      </a:dk1>
      <a:lt1>
        <a:srgbClr val="FFFFFF"/>
      </a:lt1>
      <a:dk2>
        <a:srgbClr val="545454"/>
      </a:dk2>
      <a:lt2>
        <a:srgbClr val="BFBFBF"/>
      </a:lt2>
      <a:accent1>
        <a:srgbClr val="40BAD2"/>
      </a:accent1>
      <a:accent2>
        <a:srgbClr val="FAB900"/>
      </a:accent2>
      <a:accent3>
        <a:srgbClr val="90BB23"/>
      </a:accent3>
      <a:accent4>
        <a:srgbClr val="EE7008"/>
      </a:accent4>
      <a:accent5>
        <a:srgbClr val="1AB39F"/>
      </a:accent5>
      <a:accent6>
        <a:srgbClr val="D5393D"/>
      </a:accent6>
      <a:hlink>
        <a:srgbClr val="90BB23"/>
      </a:hlink>
      <a:folHlink>
        <a:srgbClr val="EE7008"/>
      </a:folHlink>
    </a:clrScheme>
    <a:fontScheme name="Frame">
      <a:majorFont>
        <a:latin typeface="Corbel" panose="020B0503020204020204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orbel" panose="020B0503020204020204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Fram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hade val="98000"/>
                <a:satMod val="120000"/>
                <a:lumMod val="102000"/>
              </a:schemeClr>
            </a:gs>
            <a:gs pos="48000">
              <a:schemeClr val="phClr">
                <a:tint val="98000"/>
                <a:shade val="90000"/>
                <a:satMod val="110000"/>
                <a:lumMod val="103000"/>
              </a:schemeClr>
            </a:gs>
            <a:gs pos="100000">
              <a:schemeClr val="phClr">
                <a:tint val="98000"/>
                <a:shade val="80000"/>
                <a:satMod val="10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ŠABLONA2018_nex" id="{43CAA889-BA65-4DA6-8F05-727512501E4B}" vid="{C8E0DB58-84EC-4026-ADD3-6260534EB18F}"/>
    </a:ext>
  </a:extLst>
</a:theme>
</file>

<file path=ppt/theme/theme2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237</TotalTime>
  <Words>1591</Words>
  <Application>Microsoft Office PowerPoint</Application>
  <PresentationFormat>Širokoúhlá obrazovka</PresentationFormat>
  <Paragraphs>341</Paragraphs>
  <Slides>28</Slides>
  <Notes>13</Notes>
  <HiddenSlides>0</HiddenSlides>
  <MMClips>0</MMClips>
  <ScaleCrop>false</ScaleCrop>
  <HeadingPairs>
    <vt:vector size="8" baseType="variant">
      <vt:variant>
        <vt:lpstr>Použitá písma</vt:lpstr>
      </vt:variant>
      <vt:variant>
        <vt:i4>6</vt:i4>
      </vt:variant>
      <vt:variant>
        <vt:lpstr>Motiv</vt:lpstr>
      </vt:variant>
      <vt:variant>
        <vt:i4>1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28</vt:i4>
      </vt:variant>
    </vt:vector>
  </HeadingPairs>
  <TitlesOfParts>
    <vt:vector size="36" baseType="lpstr">
      <vt:lpstr>Arial</vt:lpstr>
      <vt:lpstr>Corbel</vt:lpstr>
      <vt:lpstr>Montserrat ExtraBold</vt:lpstr>
      <vt:lpstr>Sansation</vt:lpstr>
      <vt:lpstr>Sansation Light</vt:lpstr>
      <vt:lpstr>Wingdings 2</vt:lpstr>
      <vt:lpstr>Rámeček</vt:lpstr>
      <vt:lpstr>think-cell Slide</vt:lpstr>
      <vt:lpstr>Prezentace aplikace PowerPoint</vt:lpstr>
      <vt:lpstr>Prezentace aplikace PowerPoint</vt:lpstr>
      <vt:lpstr>Prezentace aplikace PowerPoint</vt:lpstr>
      <vt:lpstr>Prezentace aplikace PowerPoint</vt:lpstr>
      <vt:lpstr>Které finanční služby může dělat někdo jiný než banka?</vt:lpstr>
      <vt:lpstr>Důvody, proč klient odmítá jiný subjekt než banku</vt:lpstr>
      <vt:lpstr>Prezentace aplikace PowerPoint</vt:lpstr>
      <vt:lpstr>Nahradí  el. bankovnictví běžné poradce?</vt:lpstr>
      <vt:lpstr>Frekvence používání  el. bankovnictví</vt:lpstr>
      <vt:lpstr>Přístup k  el. bankovnictví</vt:lpstr>
      <vt:lpstr>Přihlašování do mobilní aplikace</vt:lpstr>
      <vt:lpstr>Využívání  el. bankovnictví</vt:lpstr>
      <vt:lpstr>Přehled, pohodlí a flexibilita, to jsou výhody  el. bankovnictví  </vt:lpstr>
      <vt:lpstr>Při využívání el. bankovnictví je zásadní jednoduché ovládání a zabezpečení</vt:lpstr>
      <vt:lpstr>Co chceme na el. bankovnictví zlepšit?</vt:lpstr>
      <vt:lpstr>Změna banky kvůli  el. bankovnictví?</vt:lpstr>
      <vt:lpstr>Proč klient nepoužívá  el. bankovnictví?</vt:lpstr>
      <vt:lpstr>Jaká musí být motivace, aby klient začal používat mobilní aplikaci</vt:lpstr>
      <vt:lpstr>Prezentace aplikace PowerPoint</vt:lpstr>
      <vt:lpstr>Povědomí  a využívání multibankingu</vt:lpstr>
      <vt:lpstr>Multibanking přes startup nebo banku? </vt:lpstr>
      <vt:lpstr>Proč nevyužít nebankovní firmy a startupy? </vt:lpstr>
      <vt:lpstr>Je multibanking přínosná novinka? </vt:lpstr>
      <vt:lpstr>Prezentace aplikace PowerPoint</vt:lpstr>
      <vt:lpstr>Čerpat služby státu a ovládat všechny účty z jednoho místa. To by klienti ve svém el. bankovnictví uvítali</vt:lpstr>
      <vt:lpstr>Služby od státu elektronicky?</vt:lpstr>
      <vt:lpstr>Přihlašovací údaje do internetového bankovnictví jako možný vstup pro čerpání služeb státu?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Zadlužování českých domácností</dc:title>
  <dc:creator>jhamanova</dc:creator>
  <cp:lastModifiedBy>Andrea Trudičová</cp:lastModifiedBy>
  <cp:revision>483</cp:revision>
  <cp:lastPrinted>2019-06-20T06:15:56Z</cp:lastPrinted>
  <dcterms:created xsi:type="dcterms:W3CDTF">2019-02-19T12:35:12Z</dcterms:created>
  <dcterms:modified xsi:type="dcterms:W3CDTF">2019-06-20T07:08:57Z</dcterms:modified>
</cp:coreProperties>
</file>